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4" r:id="rId1"/>
  </p:sldMasterIdLst>
  <p:notesMasterIdLst>
    <p:notesMasterId r:id="rId14"/>
  </p:notesMasterIdLst>
  <p:handoutMasterIdLst>
    <p:handoutMasterId r:id="rId15"/>
  </p:handoutMasterIdLst>
  <p:sldIdLst>
    <p:sldId id="859" r:id="rId2"/>
    <p:sldId id="852" r:id="rId3"/>
    <p:sldId id="857" r:id="rId4"/>
    <p:sldId id="853" r:id="rId5"/>
    <p:sldId id="863" r:id="rId6"/>
    <p:sldId id="854" r:id="rId7"/>
    <p:sldId id="850" r:id="rId8"/>
    <p:sldId id="855" r:id="rId9"/>
    <p:sldId id="858" r:id="rId10"/>
    <p:sldId id="860" r:id="rId11"/>
    <p:sldId id="862" r:id="rId12"/>
    <p:sldId id="861" r:id="rId13"/>
  </p:sldIdLst>
  <p:sldSz cx="12192000" cy="685800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5B26E07-475F-409B-B3B5-613F3D82AAF1}">
          <p14:sldIdLst>
            <p14:sldId id="859"/>
            <p14:sldId id="852"/>
            <p14:sldId id="857"/>
            <p14:sldId id="853"/>
            <p14:sldId id="863"/>
            <p14:sldId id="854"/>
            <p14:sldId id="850"/>
            <p14:sldId id="855"/>
            <p14:sldId id="858"/>
            <p14:sldId id="860"/>
            <p14:sldId id="862"/>
            <p14:sldId id="8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75">
          <p15:clr>
            <a:srgbClr val="A4A3A4"/>
          </p15:clr>
        </p15:guide>
        <p15:guide id="2" orient="horz" pos="2154">
          <p15:clr>
            <a:srgbClr val="A4A3A4"/>
          </p15:clr>
        </p15:guide>
        <p15:guide id="3" pos="6120">
          <p15:clr>
            <a:srgbClr val="A4A3A4"/>
          </p15:clr>
        </p15:guide>
        <p15:guide id="4" pos="415" userDrawn="1">
          <p15:clr>
            <a:srgbClr val="A4A3A4"/>
          </p15:clr>
        </p15:guide>
        <p15:guide id="5" pos="4179">
          <p15:clr>
            <a:srgbClr val="A4A3A4"/>
          </p15:clr>
        </p15:guide>
        <p15:guide id="6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CCAB"/>
    <a:srgbClr val="79B213"/>
    <a:srgbClr val="FF823F"/>
    <a:srgbClr val="11A74C"/>
    <a:srgbClr val="FAFAFA"/>
    <a:srgbClr val="139884"/>
    <a:srgbClr val="FFFFFF"/>
    <a:srgbClr val="6A6A6A"/>
    <a:srgbClr val="000000"/>
    <a:srgbClr val="E5F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7" autoAdjust="0"/>
    <p:restoredTop sz="90104" autoAdjust="0"/>
  </p:normalViewPr>
  <p:slideViewPr>
    <p:cSldViewPr snapToGrid="0" snapToObjects="1">
      <p:cViewPr varScale="1">
        <p:scale>
          <a:sx n="104" d="100"/>
          <a:sy n="104" d="100"/>
        </p:scale>
        <p:origin x="928" y="200"/>
      </p:cViewPr>
      <p:guideLst>
        <p:guide orient="horz" pos="3575"/>
        <p:guide orient="horz" pos="2154"/>
        <p:guide pos="6120"/>
        <p:guide pos="415"/>
        <p:guide pos="4179"/>
        <p:guide pos="2304"/>
      </p:guideLst>
    </p:cSldViewPr>
  </p:slideViewPr>
  <p:outlineViewPr>
    <p:cViewPr>
      <p:scale>
        <a:sx n="33" d="100"/>
        <a:sy n="33" d="100"/>
      </p:scale>
      <p:origin x="0" y="-5409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2" d="100"/>
          <a:sy n="52" d="100"/>
        </p:scale>
        <p:origin x="30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76723-B8D6-4B8F-AE76-564FFD55B01E}" type="datetimeFigureOut">
              <a:rPr lang="ru-RU" smtClean="0"/>
              <a:t>21.10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EB68B8-4780-47CF-A435-960EDF4B37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425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23912-14FC-9B45-B2C9-28A671C57350}" type="datetimeFigureOut">
              <a:rPr lang="en-US" smtClean="0"/>
              <a:t>10/2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BC0883-0DBB-4A45-B9EC-4D5F3A927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46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3163-A6A1-4A19-B7EF-00B930F39AC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565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720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Что такое </a:t>
            </a:r>
            <a:r>
              <a:rPr lang="en-US" sz="1200" dirty="0"/>
              <a:t>Pricing</a:t>
            </a:r>
            <a:r>
              <a:rPr lang="en-US" sz="1200" baseline="0" dirty="0"/>
              <a:t> Servic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Облачный сервис</a:t>
            </a:r>
            <a:r>
              <a:rPr lang="en-US" sz="1200" baseline="0" dirty="0"/>
              <a:t> </a:t>
            </a:r>
            <a:r>
              <a:rPr lang="ru-RU" sz="1200" baseline="0" dirty="0"/>
              <a:t>«одного окна» для работы с ПФИ</a:t>
            </a:r>
            <a:r>
              <a:rPr lang="en-US" sz="1200" baseline="0" dirty="0"/>
              <a:t>: </a:t>
            </a:r>
            <a:r>
              <a:rPr lang="ru-RU" sz="1200" baseline="0" dirty="0"/>
              <a:t>оценка, риск, </a:t>
            </a:r>
            <a:r>
              <a:rPr lang="en-US" sz="1200" baseline="0" dirty="0"/>
              <a:t>CVA, </a:t>
            </a:r>
            <a:r>
              <a:rPr lang="en-US" sz="1200" baseline="0" dirty="0" err="1"/>
              <a:t>PnlExplain</a:t>
            </a:r>
            <a:r>
              <a:rPr lang="en-US" sz="1200" baseline="0" dirty="0"/>
              <a:t>, </a:t>
            </a:r>
            <a:r>
              <a:rPr lang="ru-RU" sz="1200" baseline="0" dirty="0"/>
              <a:t>сценарии,</a:t>
            </a:r>
            <a:r>
              <a:rPr lang="en-US" sz="1200" baseline="0" dirty="0"/>
              <a:t> </a:t>
            </a:r>
            <a:r>
              <a:rPr lang="ru-RU" sz="1200" baseline="0" dirty="0" err="1"/>
              <a:t>стрес</a:t>
            </a:r>
            <a:r>
              <a:rPr lang="ru-RU" sz="1200" baseline="0" dirty="0"/>
              <a:t> </a:t>
            </a:r>
            <a:r>
              <a:rPr lang="ru-RU" sz="1200" baseline="0" dirty="0" err="1"/>
              <a:t>стест</a:t>
            </a:r>
            <a:r>
              <a:rPr lang="ru-RU" sz="1200" baseline="0" dirty="0"/>
              <a:t>, </a:t>
            </a:r>
            <a:r>
              <a:rPr lang="ru-RU" sz="1200" baseline="0" dirty="0" err="1"/>
              <a:t>бэктест</a:t>
            </a:r>
            <a:r>
              <a:rPr lang="ru-RU" sz="1200" baseline="0" dirty="0"/>
              <a:t>, репорты </a:t>
            </a:r>
            <a:r>
              <a:rPr lang="ru-RU" sz="1200" baseline="0" dirty="0" err="1"/>
              <a:t>итд</a:t>
            </a:r>
            <a:endParaRPr lang="ru-RU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Может быть интегрирована с любой другой АС бан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Легко масштабируется и дорабатывается под нужды</a:t>
            </a:r>
            <a:r>
              <a:rPr lang="en-US" sz="1200" baseline="0" dirty="0"/>
              <a:t> </a:t>
            </a:r>
            <a:r>
              <a:rPr lang="ru-RU" sz="1200" baseline="0" dirty="0"/>
              <a:t>клиен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Архитектура</a:t>
            </a:r>
            <a:r>
              <a:rPr lang="en-US" sz="1200" baseline="0" dirty="0"/>
              <a:t>? </a:t>
            </a:r>
            <a:r>
              <a:rPr lang="ru-RU" sz="1200" baseline="0" dirty="0"/>
              <a:t>Как пользоваться</a:t>
            </a:r>
            <a:r>
              <a:rPr lang="en-US" sz="1200" baseline="0" dirty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Запрос-Ответ. Есть богатый </a:t>
            </a:r>
            <a:r>
              <a:rPr lang="en-US" sz="1200" baseline="0" dirty="0"/>
              <a:t>API </a:t>
            </a:r>
            <a:r>
              <a:rPr lang="ru-RU" sz="1200" baseline="0" dirty="0"/>
              <a:t>как для людей так и для </a:t>
            </a:r>
            <a:r>
              <a:rPr lang="en-US" sz="1200" baseline="0" dirty="0"/>
              <a:t>AC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Платформа содержит собственные вычислительные мощности и систему распределения вычислений – клиенту не нужно об этом думать.</a:t>
            </a:r>
            <a:endParaRPr lang="en-US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В платформу оперативно подгружаются официальные рыночные данные</a:t>
            </a:r>
            <a:r>
              <a:rPr lang="en-US" sz="1200" baseline="0" dirty="0"/>
              <a:t>: </a:t>
            </a:r>
            <a:r>
              <a:rPr lang="ru-RU" sz="1200" baseline="0" dirty="0"/>
              <a:t>у клиента есть </a:t>
            </a:r>
            <a:r>
              <a:rPr lang="ru-RU" sz="1200" baseline="0" dirty="0" err="1"/>
              <a:t>есть</a:t>
            </a:r>
            <a:r>
              <a:rPr lang="ru-RU" sz="1200" baseline="0" dirty="0"/>
              <a:t> возможность использования модифицированных официальных данных или альтернативных данных</a:t>
            </a:r>
            <a:endParaRPr lang="en-US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хнически легко интегрируется с АС банка. В данный момент реализован протокол оптимизированный под скорость взаимодействия. Позволяет интегрироваться с АС находящимися в том же сетевом сегменте и не использующих информацию К1/К2. В планах на следующий год реализация текстового протокола для снятия этих ограничений.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зор текущих пользователей PS и возможных проектов в ближайшем будущем. CVA. Murex.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UI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лектронные каналы: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gma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uctured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ducts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K7M (2023). Обсуждение: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аркетмейкинг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электронных каналах. Обсуждение: расширение использования в Риск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aseline="0" dirty="0"/>
          </a:p>
          <a:p>
            <a:pPr marL="0" indent="0">
              <a:buFont typeface="Arial" panose="020B0604020202020204" pitchFamily="34" charset="0"/>
              <a:buNone/>
            </a:pPr>
            <a:endParaRPr lang="ru-RU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Какие продукты поддерживает </a:t>
            </a:r>
            <a:r>
              <a:rPr lang="en-US" sz="1200" baseline="0" dirty="0"/>
              <a:t>PS?</a:t>
            </a:r>
            <a:endParaRPr lang="ru-RU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Практически любые. </a:t>
            </a:r>
            <a:r>
              <a:rPr lang="ru-RU" sz="1200" dirty="0"/>
              <a:t>Вычислительное ядро содержит «конструктор» продуктов и позволяет в короткие сроки добавить поддержку практически любого ПФ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Ядро реализует принцип «фабрики моделей» и автоматически конструирует и калибрует модель под нужды обрабатываемого ПФИ или портфеля</a:t>
            </a:r>
            <a:r>
              <a:rPr lang="ru-RU" sz="1200" baseline="0" dirty="0"/>
              <a:t> ПФИ. 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Ядро содержит универсальный </a:t>
            </a:r>
            <a:r>
              <a:rPr lang="ru-RU" sz="1200" dirty="0" err="1"/>
              <a:t>симуляционный</a:t>
            </a:r>
            <a:r>
              <a:rPr lang="ru-RU" sz="1200" dirty="0"/>
              <a:t> векторизованный движок класса </a:t>
            </a:r>
            <a:r>
              <a:rPr lang="en-US" sz="1200" dirty="0"/>
              <a:t>American Monte-Carlo </a:t>
            </a:r>
            <a:r>
              <a:rPr lang="ru-RU" sz="1200" dirty="0"/>
              <a:t>с поддержкой авто дифференцирования что позволяет работать с</a:t>
            </a:r>
            <a:r>
              <a:rPr lang="ru-RU" sz="1200" baseline="0" dirty="0"/>
              <a:t> ПФИ и портфелями ПФИ практически любой сложности включая </a:t>
            </a:r>
            <a:r>
              <a:rPr lang="en-US" sz="1200" baseline="0" dirty="0"/>
              <a:t>callable/puttable</a:t>
            </a:r>
            <a:r>
              <a:rPr lang="ru-RU" sz="1200" baseline="0" dirty="0"/>
              <a:t> структуры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Почему </a:t>
            </a:r>
            <a:r>
              <a:rPr lang="en-US" sz="1200" baseline="0" dirty="0"/>
              <a:t>PS </a:t>
            </a:r>
            <a:r>
              <a:rPr lang="ru-RU" sz="1200" baseline="0" dirty="0"/>
              <a:t>работает в 50 раз быстрее </a:t>
            </a:r>
            <a:r>
              <a:rPr lang="en-US" sz="1200" baseline="0" dirty="0" err="1"/>
              <a:t>Numerix</a:t>
            </a:r>
            <a:r>
              <a:rPr lang="en-US" sz="1200" baseline="0" dirty="0"/>
              <a:t> CVA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Мы используем современные технологии как в вычислительном ядре так и в облачной архитектуре сервис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В ядре большинство математических операций векторизованы (элементарная единица расчета не одно число а вектор) такой формат работает кратно быстрее на современных процессора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Для расчета риска мы используем технологию </a:t>
            </a:r>
            <a:r>
              <a:rPr lang="ru-RU" sz="1200" baseline="0" dirty="0" err="1"/>
              <a:t>автодифференцирования</a:t>
            </a:r>
            <a:r>
              <a:rPr lang="ru-RU" sz="1200" baseline="0" dirty="0"/>
              <a:t> которая позволяет считать риск без </a:t>
            </a:r>
            <a:r>
              <a:rPr lang="ru-RU" sz="1200" baseline="0" dirty="0" err="1"/>
              <a:t>бампов</a:t>
            </a:r>
            <a:r>
              <a:rPr lang="ru-RU" sz="1200" baseline="0" dirty="0"/>
              <a:t>, кратно быстрее классических систем. Технология пришла из мира </a:t>
            </a:r>
            <a:r>
              <a:rPr lang="en-US" sz="1200" baseline="0" dirty="0" err="1"/>
              <a:t>MachineLearning</a:t>
            </a:r>
            <a:r>
              <a:rPr lang="en-US" sz="1200" baseline="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aseline="0" dirty="0"/>
              <a:t>На уровне облака используется современная система распределения вычислений вдохновленная технологией </a:t>
            </a:r>
            <a:r>
              <a:rPr lang="en-US" sz="1200" baseline="0" dirty="0" err="1"/>
              <a:t>blockchain</a:t>
            </a:r>
            <a:r>
              <a:rPr lang="en-US" sz="1200" baseline="0" dirty="0"/>
              <a:t>. </a:t>
            </a:r>
            <a:r>
              <a:rPr lang="ru-RU" sz="1200" baseline="0" dirty="0"/>
              <a:t>Это позволяет уверенно работать под большими нагрузкам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200" baseline="0" dirty="0"/>
              <a:t>Платформа </a:t>
            </a:r>
            <a:r>
              <a:rPr lang="en-US" sz="1200" baseline="0" dirty="0"/>
              <a:t>Pricing Service </a:t>
            </a:r>
            <a:r>
              <a:rPr lang="ru-RU" sz="1200" baseline="0" dirty="0"/>
              <a:t>поддерживается объединённой командой ДГР и ДИТ. Сейчас команда имеет опыт и экспертизу (но не всегда ресурсы) для</a:t>
            </a:r>
            <a:r>
              <a:rPr lang="en-US" sz="1200" baseline="0" dirty="0"/>
              <a:t> </a:t>
            </a:r>
            <a:r>
              <a:rPr lang="ru-RU" sz="1200" baseline="0" dirty="0"/>
              <a:t>масштабирования и доработок платформы под нужды наших текущих или новых внутренних клиента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61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432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http://77A1012EB7C4058D7857A2C27F19AA38.dms.sberbank.ru/77A1012EB7C4058D7857A2C27F19AA38-E1D38927762F719C3E4576D754F7E88B-911A2017309B15345410D9B768C2DDD9/1.png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88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85821"/>
            <a:ext cx="8177213" cy="145424"/>
          </a:xfrm>
        </p:spPr>
        <p:txBody>
          <a:bodyPr vert="horz" wrap="square" lIns="0" tIns="0" rIns="91440" bIns="0" rtlCol="0" anchor="t">
            <a:spAutoFit/>
          </a:bodyPr>
          <a:lstStyle>
            <a:lvl1pPr>
              <a:defRPr lang="en-US" sz="1050" b="0" dirty="0" smtClean="0">
                <a:solidFill>
                  <a:schemeClr val="bg2">
                    <a:lumMod val="90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Footno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  <p:pic>
        <p:nvPicPr>
          <p:cNvPr id="12" name="Рисунок 11" descr="http://77A1012EB7C4058D7857A2C27F19AA38.dms.sberbank.ru/77A1012EB7C4058D7857A2C27F19AA38-E1D38927762F719C3E4576D754F7E88B-911A2017309B15345410D9B768C2DDD9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171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09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pic>
        <p:nvPicPr>
          <p:cNvPr id="9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3198134"/>
            <a:ext cx="10515600" cy="78483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29963" y="6481781"/>
            <a:ext cx="619125" cy="1494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1ECC838D-6406-4574-A9A5-074039DD804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6485821"/>
            <a:ext cx="8177213" cy="145424"/>
          </a:xfrm>
        </p:spPr>
        <p:txBody>
          <a:bodyPr vert="horz" wrap="square" lIns="0" tIns="0" rIns="91440" bIns="0" rtlCol="0" anchor="t">
            <a:spAutoFit/>
          </a:bodyPr>
          <a:lstStyle>
            <a:lvl1pPr>
              <a:defRPr lang="en-US" sz="1050" b="0" dirty="0" smtClean="0">
                <a:solidFill>
                  <a:schemeClr val="bg2">
                    <a:lumMod val="90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Footno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374" y="419845"/>
            <a:ext cx="1128713" cy="226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276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45" name="think-cell Slide" r:id="rId7" imgW="384" imgH="385" progId="TCLayout.ActiveDocument.1">
                  <p:embed/>
                </p:oleObj>
              </mc:Choice>
              <mc:Fallback>
                <p:oleObj name="think-cell Slide" r:id="rId7" imgW="384" imgH="38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SB Sans Display Semibold" panose="020B0604020202020204" charset="0"/>
              <a:ea typeface="+mn-ea"/>
              <a:cs typeface="SB Sans Display Semibold" panose="020B0604020202020204" charset="0"/>
              <a:sym typeface="SB Sans Display Semibol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369332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торой уровень</a:t>
            </a:r>
          </a:p>
          <a:p>
            <a:pPr marL="361950" lvl="1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B Sans Display" panose="020B0604020202020204" charset="0"/>
              <a:buChar char="-"/>
            </a:pPr>
            <a:r>
              <a:rPr lang="ru-RU" dirty="0"/>
              <a:t>Третий уровень</a:t>
            </a:r>
            <a:endParaRPr lang="en-US" dirty="0"/>
          </a:p>
          <a:p>
            <a:pPr marL="542925" lvl="2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SB Sans Display" panose="020B0604020202020204" charset="0"/>
              <a:buChar char="○"/>
            </a:pPr>
            <a:r>
              <a:rPr lang="ru-RU" dirty="0"/>
              <a:t>Четвертый уровень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11129963" y="6485821"/>
            <a:ext cx="619125" cy="1454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1050" b="0" smtClean="0">
                <a:solidFill>
                  <a:schemeClr val="bg2">
                    <a:lumMod val="75000"/>
                  </a:schemeClr>
                </a:solidFill>
                <a:effectLst/>
                <a:latin typeface="SB Sans Display" panose="020B0604020202020204" charset="0"/>
                <a:cs typeface="SB Sans Display" panose="020B0604020202020204" charset="0"/>
              </a:defRPr>
            </a:lvl1pPr>
          </a:lstStyle>
          <a:p>
            <a:pPr marL="180975" indent="-180975" algn="r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fld id="{DCCA221B-3CF6-459B-A170-5355739D6EE8}" type="slidenum">
              <a:rPr lang="ru-RU" smtClean="0"/>
              <a:pPr marL="180975" indent="-180975" algn="r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t>‹#›</a:t>
            </a:fld>
            <a:endParaRPr lang="ru-RU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309309" y="0"/>
            <a:ext cx="238287" cy="3384550"/>
            <a:chOff x="-399495" y="0"/>
            <a:chExt cx="328474" cy="4665536"/>
          </a:xfrm>
        </p:grpSpPr>
        <p:sp>
          <p:nvSpPr>
            <p:cNvPr id="10" name="Rectangle 9"/>
            <p:cNvSpPr/>
            <p:nvPr/>
          </p:nvSpPr>
          <p:spPr>
            <a:xfrm>
              <a:off x="-399495" y="0"/>
              <a:ext cx="328474" cy="328474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-399495" y="381816"/>
              <a:ext cx="328474" cy="328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-399495" y="2290896"/>
              <a:ext cx="328474" cy="32847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-399495" y="1145448"/>
              <a:ext cx="328474" cy="328474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-399495" y="763632"/>
              <a:ext cx="328474" cy="32847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9495" y="2672712"/>
              <a:ext cx="328474" cy="328474"/>
            </a:xfrm>
            <a:prstGeom prst="rect">
              <a:avLst/>
            </a:prstGeom>
            <a:solidFill>
              <a:srgbClr val="D6D4D4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-399495" y="3054528"/>
              <a:ext cx="328474" cy="328474"/>
            </a:xfrm>
            <a:prstGeom prst="rect">
              <a:avLst/>
            </a:prstGeom>
            <a:solidFill>
              <a:srgbClr val="858585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-399495" y="1909080"/>
              <a:ext cx="328474" cy="328474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-399495" y="1527264"/>
              <a:ext cx="328474" cy="32847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-399495" y="3436344"/>
              <a:ext cx="328474" cy="328474"/>
            </a:xfrm>
            <a:prstGeom prst="rect">
              <a:avLst/>
            </a:prstGeom>
            <a:solidFill>
              <a:srgbClr val="E6E5E7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-399495" y="3489686"/>
              <a:ext cx="328474" cy="328474"/>
            </a:xfrm>
            <a:prstGeom prst="rect">
              <a:avLst/>
            </a:prstGeom>
            <a:solidFill>
              <a:srgbClr val="E6E5E7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-399495" y="3916413"/>
              <a:ext cx="328474" cy="328474"/>
            </a:xfrm>
            <a:prstGeom prst="rect">
              <a:avLst/>
            </a:prstGeom>
            <a:solidFill>
              <a:srgbClr val="46566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700" dirty="0"/>
                <a:t>text</a:t>
              </a:r>
              <a:endParaRPr lang="ru-RU" sz="700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-399495" y="4337062"/>
              <a:ext cx="328474" cy="328474"/>
            </a:xfrm>
            <a:prstGeom prst="rect">
              <a:avLst/>
            </a:prstGeom>
            <a:gradFill>
              <a:gsLst>
                <a:gs pos="80000">
                  <a:srgbClr val="FBEF00"/>
                </a:gs>
                <a:gs pos="41000">
                  <a:srgbClr val="00FFC8"/>
                </a:gs>
                <a:gs pos="15000">
                  <a:schemeClr val="accent3"/>
                </a:gs>
                <a:gs pos="0">
                  <a:schemeClr val="accent3"/>
                </a:gs>
                <a:gs pos="100000">
                  <a:schemeClr val="accent4"/>
                </a:gs>
              </a:gsLst>
              <a:lin ang="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18155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000" kern="1200" dirty="0">
          <a:solidFill>
            <a:srgbClr val="333F48"/>
          </a:solidFill>
          <a:effectLst/>
          <a:latin typeface="SB Sans Display Semibold" panose="020B0703040504020204" pitchFamily="34" charset="0"/>
          <a:ea typeface="+mn-ea"/>
          <a:cs typeface="SB Sans Display Semibold" panose="020B0703040504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285750" algn="l" defTabSz="914400" rtl="0" eaLnBrk="1" latinLnBrk="0" hangingPunct="1">
        <a:lnSpc>
          <a:spcPct val="90000"/>
        </a:lnSpc>
        <a:spcBef>
          <a:spcPts val="500"/>
        </a:spcBef>
        <a:buFont typeface="SB Sans Display" panose="020B0604020202020204" charset="0"/>
        <a:buChar char="-"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8575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SB Sans Display" panose="020B0604020202020204" charset="0"/>
        <a:buChar char="○"/>
        <a:defRPr lang="ru-RU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79">
          <p15:clr>
            <a:srgbClr val="F26B43"/>
          </p15:clr>
        </p15:guide>
        <p15:guide id="3" pos="3840">
          <p15:clr>
            <a:srgbClr val="F26B43"/>
          </p15:clr>
        </p15:guide>
        <p15:guide id="4" pos="74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>
              <a:spcAft>
                <a:spcPts val="1800"/>
              </a:spcAft>
            </a:pPr>
            <a:r>
              <a:rPr lang="en-US" sz="5400" dirty="0"/>
              <a:t>Pricing Service CVA</a:t>
            </a:r>
            <a:endParaRPr lang="ru-RU" sz="2400" dirty="0"/>
          </a:p>
        </p:txBody>
      </p:sp>
      <p:sp>
        <p:nvSpPr>
          <p:cNvPr id="3" name="Rectangle 2"/>
          <p:cNvSpPr/>
          <p:nvPr/>
        </p:nvSpPr>
        <p:spPr>
          <a:xfrm>
            <a:off x="369022" y="4194029"/>
            <a:ext cx="67902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333F48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Вычислительная платформа для расчета </a:t>
            </a:r>
            <a:r>
              <a:rPr lang="en-US" sz="2400" dirty="0">
                <a:solidFill>
                  <a:srgbClr val="333F48"/>
                </a:solidFill>
                <a:latin typeface="SB Sans Display Semibold" panose="020B0703040504020204" pitchFamily="34" charset="0"/>
                <a:cs typeface="SB Sans Display Semibold" panose="020B0703040504020204" pitchFamily="34" charset="0"/>
              </a:rPr>
              <a:t>CVA</a:t>
            </a:r>
            <a:endParaRPr lang="ru-RU" sz="2400" dirty="0">
              <a:solidFill>
                <a:srgbClr val="333F48"/>
              </a:solidFill>
              <a:latin typeface="SB Sans Display Semibold" panose="020B0703040504020204" pitchFamily="34" charset="0"/>
              <a:cs typeface="SB Sans Display Semibold" panose="020B07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726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 CVA: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жим </a:t>
            </a:r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</a:t>
            </a:r>
            <a:endParaRPr lang="ru-RU" sz="25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" y="2726871"/>
            <a:ext cx="5522882" cy="36882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6601" y="1119497"/>
            <a:ext cx="6576755" cy="322295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00125" y="1346288"/>
            <a:ext cx="406113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ython API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</a:t>
            </a:r>
          </a:p>
          <a:p>
            <a:pPr lvl="1"/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изуализация</a:t>
            </a:r>
          </a:p>
          <a:p>
            <a:pPr lvl="1">
              <a:spcAft>
                <a:spcPts val="600"/>
              </a:spcAft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онкая настройка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254479" y="946178"/>
            <a:ext cx="2067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PE/ENE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для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RS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320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ложения</a:t>
            </a:r>
          </a:p>
        </p:txBody>
      </p:sp>
    </p:spTree>
    <p:extLst>
      <p:ext uri="{BB962C8B-B14F-4D97-AF65-F5344CB8AC3E}">
        <p14:creationId xmlns:p14="http://schemas.microsoft.com/office/powerpoint/2010/main" val="21599305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пликация для </a:t>
            </a:r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TM Commodity Swaps</a:t>
            </a:r>
            <a:endParaRPr lang="ru-RU" sz="25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347869" y="1140550"/>
                <a:ext cx="11419258" cy="5425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>
                  <a:spcAft>
                    <a:spcPts val="1270"/>
                  </a:spcAft>
                </a:pP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CVA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 общем случае определяется как</a:t>
                </a:r>
                <a:endParaRPr lang="en-US" sz="1905" dirty="0">
                  <a:solidFill>
                    <a:schemeClr val="tx1">
                      <a:lumMod val="50000"/>
                    </a:scheme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just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=−</m:t>
                      </m:r>
                      <m:nary>
                        <m:naryPr>
                          <m:limLoc m:val="undOvr"/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4"/>
                            </m:r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𝐸𝑃</m:t>
                          </m:r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sub>
                          </m:sSub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𝐿𝐺𝐷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𝑑𝑃</m:t>
                          </m:r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𝜏</m:t>
                              </m:r>
                            </m:sub>
                          </m:sSub>
                        </m:e>
                      </m:nary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en-US" sz="1905" b="0" dirty="0">
                  <a:solidFill>
                    <a:schemeClr val="tx1">
                      <a:lumMod val="50000"/>
                    </a:schemeClr>
                  </a:solidFill>
                  <a:latin typeface="SB Sans Display Light" panose="020B0303040504020204" pitchFamily="34" charset="0"/>
                </a:endParaRPr>
              </a:p>
              <a:p>
                <a:pPr algn="just">
                  <a:spcAft>
                    <a:spcPts val="1270"/>
                  </a:spcAft>
                </a:pP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где </a:t>
                </a:r>
                <a14:m>
                  <m:oMath xmlns:m="http://schemas.openxmlformats.org/officeDocument/2006/math">
                    <m:r>
                      <a:rPr lang="en-US" sz="1905" b="0" i="1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𝐸𝑃</m:t>
                    </m:r>
                    <m:sSub>
                      <m:sSubPr>
                        <m:ctrlPr>
                          <a:rPr lang="en-US" sz="1905" b="0" i="1" smtClean="0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sSubPr>
                      <m:e>
                        <m:r>
                          <a:rPr lang="en-US" sz="1905" b="0" i="1" smtClean="0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𝐸</m:t>
                        </m:r>
                      </m:e>
                      <m:sub>
                        <m:r>
                          <a:rPr lang="en-US" sz="1905" b="0" i="1" smtClean="0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  <m:t>𝜏</m:t>
                        </m:r>
                      </m:sub>
                    </m:sSub>
                    <m:r>
                      <a:rPr lang="en-US" sz="1905" b="0" i="1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=</m:t>
                    </m:r>
                    <m:r>
                      <a:rPr lang="en-US" sz="1905" b="0" i="1" smtClean="0">
                        <a:solidFill>
                          <a:schemeClr val="tx1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cs typeface="SB Sans Display Light" panose="020B0303040504020204" pitchFamily="34" charset="0"/>
                      </a:rPr>
                      <m:t>𝐸</m:t>
                    </m:r>
                    <m:d>
                      <m:dPr>
                        <m:begChr m:val="["/>
                        <m:endChr m:val="]"/>
                        <m:ctrlPr>
                          <a:rPr lang="en-US" sz="1905" b="0" i="1" smtClean="0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cs typeface="SB Sans Display Light" panose="020B0303040504020204" pitchFamily="34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en-US" sz="1905" b="0" i="1" smtClean="0">
                                <a:solidFill>
                                  <a:schemeClr val="tx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905" b="0" i="0" smtClean="0">
                                <a:solidFill>
                                  <a:schemeClr val="tx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  <a:cs typeface="SB Sans Display Light" panose="020B0303040504020204" pitchFamily="34" charset="0"/>
                              </a:rPr>
                              <m:t>max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905" b="0" i="1" smtClean="0">
                                    <a:solidFill>
                                      <a:schemeClr val="tx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</m:ctrlPr>
                              </m:dPr>
                              <m:e>
                                <m:r>
                                  <a:rPr lang="en-US" sz="1905" b="0" i="1" smtClean="0">
                                    <a:solidFill>
                                      <a:schemeClr val="tx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  <m:t>𝑀𝑡</m:t>
                                </m:r>
                                <m:sSub>
                                  <m:sSubPr>
                                    <m:ctrlPr>
                                      <a:rPr lang="en-US" sz="1905" b="0" i="1" smtClean="0">
                                        <a:solidFill>
                                          <a:schemeClr val="tx1">
                                            <a:lumMod val="50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905" b="0" i="1" smtClean="0">
                                        <a:solidFill>
                                          <a:schemeClr val="tx1">
                                            <a:lumMod val="50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𝑀</m:t>
                                    </m:r>
                                  </m:e>
                                  <m:sub>
                                    <m:r>
                                      <a:rPr lang="en-US" sz="1905" b="0" i="1" smtClean="0">
                                        <a:solidFill>
                                          <a:schemeClr val="tx1">
                                            <a:lumMod val="50000"/>
                                          </a:schemeClr>
                                        </a:solidFill>
                                        <a:latin typeface="Cambria Math" panose="02040503050406030204" pitchFamily="18" charset="0"/>
                                        <a:cs typeface="SB Sans Display Light" panose="020B0303040504020204" pitchFamily="34" charset="0"/>
                                      </a:rPr>
                                      <m:t>𝜏</m:t>
                                    </m:r>
                                  </m:sub>
                                </m:sSub>
                                <m:r>
                                  <a:rPr lang="en-US" sz="1905" b="0" i="1" smtClean="0">
                                    <a:solidFill>
                                      <a:schemeClr val="tx1">
                                        <a:lumMod val="50000"/>
                                      </a:schemeClr>
                                    </a:solidFill>
                                    <a:latin typeface="Cambria Math" panose="02040503050406030204" pitchFamily="18" charset="0"/>
                                    <a:cs typeface="SB Sans Display Light" panose="020B0303040504020204" pitchFamily="34" charset="0"/>
                                  </a:rPr>
                                  <m:t>,0</m:t>
                                </m:r>
                              </m:e>
                            </m:d>
                          </m:e>
                        </m:func>
                      </m:e>
                    </m:d>
                  </m:oMath>
                </a14:m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- Expected Positive Exposure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 будущий момент времени</a:t>
                </a:r>
              </a:p>
              <a:p>
                <a:pPr algn="just">
                  <a:spcAft>
                    <a:spcPts val="1270"/>
                  </a:spcAft>
                </a:pP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Так как по свопам на уголь переоценка сильно смещена в сторону Банка (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Fixed Price ~$100,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текущая цена угля 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~$300),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а сделки короткие (до конца 2022), то возможно упрощение</a:t>
                </a:r>
              </a:p>
              <a:p>
                <a:pPr algn="just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𝐸𝑃</m:t>
                      </m:r>
                      <m:sSub>
                        <m:sSubPr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𝐸</m:t>
                          </m:r>
                        </m:e>
                        <m:sub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𝜏</m:t>
                          </m:r>
                        </m:sub>
                      </m:sSub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B Sans Display Light" panose="020B0303040504020204" pitchFamily="34" charset="0"/>
                        </a:rPr>
                        <m:t>≈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B Sans Display Light" panose="020B0303040504020204" pitchFamily="34" charset="0"/>
                        </a:rPr>
                        <m:t>𝐸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dPr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𝑀𝑡</m:t>
                          </m:r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𝜏</m:t>
                              </m:r>
                            </m:sub>
                          </m:sSub>
                        </m:e>
                      </m:d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B Sans Display Light" panose="020B0303040504020204" pitchFamily="34" charset="0"/>
                        </a:rPr>
                        <m:t>=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B Sans Display Light" panose="020B0303040504020204" pitchFamily="34" charset="0"/>
                        </a:rPr>
                        <m:t>𝑀𝑡</m:t>
                      </m:r>
                      <m:sSub>
                        <m:sSubPr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SB Sans Display Light" panose="020B0303040504020204" pitchFamily="34" charset="0"/>
                            </a:rPr>
                          </m:ctrlPr>
                        </m:sSubPr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SB Sans Display Light" panose="020B0303040504020204" pitchFamily="34" charset="0"/>
                            </a:rPr>
                            <m:t>𝑀</m:t>
                          </m:r>
                        </m:e>
                        <m:sub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SB Sans Display Light" panose="020B0303040504020204" pitchFamily="34" charset="0"/>
                                </a:rPr>
                                <m:t>0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en-US" sz="1905" dirty="0">
                  <a:solidFill>
                    <a:schemeClr val="tx1">
                      <a:lumMod val="50000"/>
                    </a:scheme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just">
                  <a:spcAft>
                    <a:spcPts val="1270"/>
                  </a:spcAft>
                </a:pP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 этом случае формула для расчета 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CVA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ринимает вид</a:t>
                </a:r>
              </a:p>
              <a:p>
                <a:pPr algn="just">
                  <a:spcAft>
                    <a:spcPts val="127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cs typeface="SB Sans Display Light" panose="020B0303040504020204" pitchFamily="34" charset="0"/>
                        </a:rPr>
                        <m:t>𝐶𝑉𝐴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SB Sans Display Light" panose="020B0303040504020204" pitchFamily="34" charset="0"/>
                        </a:rPr>
                        <m:t>≈−</m:t>
                      </m:r>
                      <m:nary>
                        <m:naryPr>
                          <m:limLoc m:val="undOvr"/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4"/>
                            </m:r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</m:sub>
                        <m:sup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𝑡</m:t>
                          </m:r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sz="1905" b="0" i="1" smtClean="0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905" b="0" i="1" smtClean="0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en-US" sz="1905" b="0" i="1" smtClean="0">
                                      <a:solidFill>
                                        <a:schemeClr val="tx1">
                                          <a:lumMod val="50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sub>
                          </m:sSub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𝐺𝐷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∗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𝑃</m:t>
                          </m:r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𝜏</m:t>
                              </m:r>
                            </m:sub>
                          </m:sSub>
                        </m:e>
                      </m:nary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−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𝑡</m:t>
                      </m:r>
                      <m:sSub>
                        <m:sSubPr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sSub>
                            <m:sSubPr>
                              <m:ctrlP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en-US" sz="1905" b="0" i="1" smtClean="0">
                                  <a:solidFill>
                                    <a:schemeClr val="tx1">
                                      <a:lumMod val="50000"/>
                                    </a:scheme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sub>
                      </m:sSub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𝐿𝐺𝐷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∗</m:t>
                      </m:r>
                      <m:r>
                        <a:rPr lang="en-US" sz="1905" b="0" i="1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𝐷</m:t>
                      </m:r>
                      <m:d>
                        <m:dPr>
                          <m:ctrlP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,</m:t>
                          </m:r>
                          <m:r>
                            <a:rPr lang="en-US" sz="1905" b="0" i="1" smtClean="0">
                              <a:solidFill>
                                <a:schemeClr val="tx1">
                                  <a:lumMod val="50000"/>
                                </a:scheme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e>
                      </m:d>
                    </m:oMath>
                  </m:oMathPara>
                </a14:m>
                <a:endParaRPr lang="en-US" sz="1905" dirty="0">
                  <a:solidFill>
                    <a:schemeClr val="tx1">
                      <a:lumMod val="50000"/>
                    </a:scheme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  <a:p>
                <a:pPr algn="just">
                  <a:spcAft>
                    <a:spcPts val="1270"/>
                  </a:spcAft>
                </a:pP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Величину </a:t>
                </a:r>
                <a14:m>
                  <m:oMath xmlns:m="http://schemas.openxmlformats.org/officeDocument/2006/math">
                    <m:r>
                      <a:rPr lang="en-US" sz="1905" i="1">
                        <a:solidFill>
                          <a:schemeClr val="tx1">
                            <a:lumMod val="50000"/>
                          </a:scheme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𝑡</m:t>
                    </m:r>
                    <m:sSub>
                      <m:sSubPr>
                        <m:ctrlPr>
                          <a:rPr lang="en-US" sz="1905" i="1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905" i="1">
                            <a:solidFill>
                              <a:schemeClr val="tx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sSub>
                          <m:sSubPr>
                            <m:ctrlPr>
                              <a:rPr lang="en-US" sz="1905" i="1">
                                <a:solidFill>
                                  <a:schemeClr val="tx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905" i="1">
                                <a:solidFill>
                                  <a:schemeClr val="tx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US" sz="1905" i="1">
                                <a:solidFill>
                                  <a:schemeClr val="tx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sub>
                    </m:sSub>
                  </m:oMath>
                </a14:m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возможно включить в расчет 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PS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 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CVA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при помощи замены на 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Simple </a:t>
                </a:r>
                <a:r>
                  <a:rPr lang="en-US" sz="1905" dirty="0" err="1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CashFlow</a:t>
                </a:r>
                <a:r>
                  <a:rPr lang="en-US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, </a:t>
                </a:r>
                <a:r>
                  <a:rPr lang="ru-RU" sz="1905" dirty="0">
                    <a:solidFill>
                      <a:schemeClr val="tx1">
                        <a:lumMod val="50000"/>
                      </a:scheme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регулярно обновляя его величину</a:t>
                </a:r>
                <a:endParaRPr lang="en-US" sz="1905" dirty="0">
                  <a:solidFill>
                    <a:schemeClr val="tx1">
                      <a:lumMod val="50000"/>
                    </a:schemeClr>
                  </a:solidFill>
                  <a:latin typeface="SB Sans Display Light" panose="020B0303040504020204" pitchFamily="34" charset="0"/>
                  <a:cs typeface="SB Sans Display Light" panose="020B0303040504020204" pitchFamily="34" charset="0"/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7869" y="1140550"/>
                <a:ext cx="11419258" cy="5425716"/>
              </a:xfrm>
              <a:prstGeom prst="rect">
                <a:avLst/>
              </a:prstGeom>
              <a:blipFill>
                <a:blip r:embed="rId3"/>
                <a:stretch>
                  <a:fillRect l="-481" t="-562" r="-534" b="-101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75867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43460" y="1925675"/>
            <a:ext cx="8854722" cy="2975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ована новая </a:t>
            </a:r>
            <a:r>
              <a:rPr lang="en-US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n-house </a:t>
            </a: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латформа для расчета метрик </a:t>
            </a:r>
            <a:r>
              <a:rPr lang="en-US" sz="2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endParaRPr lang="ru-RU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еспечено практически полное покрытие текущего портфеля</a:t>
            </a: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овали (почти) </a:t>
            </a:r>
            <a:r>
              <a:rPr lang="en-US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eal-time</a:t>
            </a: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расчеты портфельных метрик </a:t>
            </a:r>
            <a:r>
              <a:rPr lang="en-US" sz="2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endParaRPr lang="en-US" sz="2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зработан полноценный </a:t>
            </a:r>
            <a:r>
              <a:rPr lang="en-US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I</a:t>
            </a: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позволяющий делать расчеты для текущего портфеля и потенциальных сделок</a:t>
            </a:r>
          </a:p>
          <a:p>
            <a:pPr marL="342900" indent="-342900">
              <a:spcAft>
                <a:spcPts val="127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латформа полностью интегрирована в системы Банка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784830"/>
          </a:xfrm>
        </p:spPr>
        <p:txBody>
          <a:bodyPr/>
          <a:lstStyle/>
          <a:p>
            <a:pPr lvl="0">
              <a:defRPr/>
            </a:pPr>
            <a:r>
              <a:rPr lang="en-US" sz="3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 CVA - </a:t>
            </a:r>
            <a:r>
              <a:rPr lang="ru-RU" sz="3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овая платформа для расчета </a:t>
            </a:r>
            <a:r>
              <a:rPr lang="en-US" sz="30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br>
              <a:rPr lang="en-US" sz="3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</a:b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ecutive summary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6818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4170080" y="1242075"/>
            <a:ext cx="1981336" cy="5359624"/>
          </a:xfrm>
          <a:prstGeom prst="rect">
            <a:avLst/>
          </a:prstGeom>
          <a:solidFill>
            <a:srgbClr val="CBF7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5"/>
          </a:p>
        </p:txBody>
      </p:sp>
      <p:graphicFrame>
        <p:nvGraphicFramePr>
          <p:cNvPr id="15" name="Table 14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817199432"/>
              </p:ext>
            </p:extLst>
          </p:nvPr>
        </p:nvGraphicFramePr>
        <p:xfrm>
          <a:off x="207824" y="1232390"/>
          <a:ext cx="11735192" cy="5369309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3992304">
                  <a:extLst>
                    <a:ext uri="{9D8B030D-6E8A-4147-A177-3AD203B41FA5}">
                      <a16:colId xmlns:a16="http://schemas.microsoft.com/office/drawing/2014/main" val="2551179057"/>
                    </a:ext>
                  </a:extLst>
                </a:gridCol>
                <a:gridCol w="1935722">
                  <a:extLst>
                    <a:ext uri="{9D8B030D-6E8A-4147-A177-3AD203B41FA5}">
                      <a16:colId xmlns:a16="http://schemas.microsoft.com/office/drawing/2014/main" val="3693595909"/>
                    </a:ext>
                  </a:extLst>
                </a:gridCol>
                <a:gridCol w="1935722">
                  <a:extLst>
                    <a:ext uri="{9D8B030D-6E8A-4147-A177-3AD203B41FA5}">
                      <a16:colId xmlns:a16="http://schemas.microsoft.com/office/drawing/2014/main" val="470987956"/>
                    </a:ext>
                  </a:extLst>
                </a:gridCol>
                <a:gridCol w="1935722">
                  <a:extLst>
                    <a:ext uri="{9D8B030D-6E8A-4147-A177-3AD203B41FA5}">
                      <a16:colId xmlns:a16="http://schemas.microsoft.com/office/drawing/2014/main" val="2156853602"/>
                    </a:ext>
                  </a:extLst>
                </a:gridCol>
                <a:gridCol w="1935722">
                  <a:extLst>
                    <a:ext uri="{9D8B030D-6E8A-4147-A177-3AD203B41FA5}">
                      <a16:colId xmlns:a16="http://schemas.microsoft.com/office/drawing/2014/main" val="1964225167"/>
                    </a:ext>
                  </a:extLst>
                </a:gridCol>
              </a:tblGrid>
              <a:tr h="582433">
                <a:tc>
                  <a:txBody>
                    <a:bodyPr/>
                    <a:lstStyle/>
                    <a:p>
                      <a:pPr algn="ctr"/>
                      <a:endParaRPr lang="en-US" sz="1700" b="1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latin typeface="SB Sans Display Light" panose="020B0303040504020204"/>
                        </a:rPr>
                        <a:t>PS CVA</a:t>
                      </a: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>
                          <a:latin typeface="SB Sans Display Light" panose="020B0303040504020204"/>
                        </a:rPr>
                        <a:t>Numerix</a:t>
                      </a:r>
                      <a:r>
                        <a:rPr lang="en-US" sz="1900" b="1" dirty="0">
                          <a:latin typeface="SB Sans Display Light" panose="020B0303040504020204"/>
                        </a:rPr>
                        <a:t> CVA</a:t>
                      </a: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latin typeface="SB Sans Display Light" panose="020B0303040504020204"/>
                        </a:rPr>
                        <a:t>Murex CVA</a:t>
                      </a: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b="1" dirty="0">
                          <a:latin typeface="SB Sans Display Light" panose="020B0303040504020204"/>
                        </a:rPr>
                        <a:t>Ручной расчет</a:t>
                      </a:r>
                      <a:endParaRPr lang="en-US" sz="1900" b="1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834410"/>
                  </a:ext>
                </a:extLst>
              </a:tr>
              <a:tr h="506476">
                <a:tc>
                  <a:txBody>
                    <a:bodyPr/>
                    <a:lstStyle/>
                    <a:p>
                      <a:pPr algn="r"/>
                      <a:r>
                        <a:rPr lang="ru-RU" sz="1900" b="0" dirty="0">
                          <a:latin typeface="SB Sans Display Light" panose="020B0303040504020204"/>
                        </a:rPr>
                        <a:t>Независимость</a:t>
                      </a:r>
                      <a:r>
                        <a:rPr lang="ru-RU" sz="1900" b="0" baseline="0" dirty="0">
                          <a:latin typeface="SB Sans Display Light" panose="020B0303040504020204"/>
                        </a:rPr>
                        <a:t> от </a:t>
                      </a:r>
                      <a:r>
                        <a:rPr lang="ru-RU" sz="1900" b="0" baseline="0" dirty="0" err="1">
                          <a:latin typeface="SB Sans Display Light" panose="020B0303040504020204"/>
                        </a:rPr>
                        <a:t>вендора</a:t>
                      </a:r>
                      <a:endParaRPr lang="en-US" sz="19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2881341"/>
                  </a:ext>
                </a:extLst>
              </a:tr>
              <a:tr h="506476">
                <a:tc>
                  <a:txBody>
                    <a:bodyPr/>
                    <a:lstStyle/>
                    <a:p>
                      <a:pPr algn="r"/>
                      <a:r>
                        <a:rPr lang="ru-RU" sz="1900" b="0" dirty="0">
                          <a:latin typeface="SB Sans Display Light" panose="020B0303040504020204"/>
                        </a:rPr>
                        <a:t>Время</a:t>
                      </a:r>
                      <a:r>
                        <a:rPr lang="ru-RU" sz="1900" b="0" baseline="0" dirty="0">
                          <a:latin typeface="SB Sans Display Light" panose="020B0303040504020204"/>
                        </a:rPr>
                        <a:t> расчетов</a:t>
                      </a:r>
                      <a:endParaRPr lang="en-US" sz="19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8922684"/>
                  </a:ext>
                </a:extLst>
              </a:tr>
              <a:tr h="506476">
                <a:tc>
                  <a:txBody>
                    <a:bodyPr/>
                    <a:lstStyle/>
                    <a:p>
                      <a:pPr algn="r"/>
                      <a:r>
                        <a:rPr lang="ru-RU" sz="1900" b="0" dirty="0">
                          <a:latin typeface="SB Sans Display Light" panose="020B0303040504020204"/>
                        </a:rPr>
                        <a:t>Гибкость настройки моделей</a:t>
                      </a:r>
                      <a:endParaRPr lang="en-US" sz="19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9277758"/>
                  </a:ext>
                </a:extLst>
              </a:tr>
              <a:tr h="506476">
                <a:tc>
                  <a:txBody>
                    <a:bodyPr/>
                    <a:lstStyle/>
                    <a:p>
                      <a:pPr algn="r"/>
                      <a:r>
                        <a:rPr lang="en-US" sz="1900" b="0" kern="1200" dirty="0">
                          <a:solidFill>
                            <a:schemeClr val="tx1"/>
                          </a:solidFill>
                          <a:latin typeface="SB Sans Display Light" panose="020B0303040504020204"/>
                          <a:ea typeface="+mn-ea"/>
                          <a:cs typeface="+mn-cs"/>
                        </a:rPr>
                        <a:t>Time-to-Market </a:t>
                      </a: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SB Sans Display Light" panose="020B0303040504020204"/>
                          <a:ea typeface="+mn-ea"/>
                          <a:cs typeface="+mn-cs"/>
                        </a:rPr>
                        <a:t>по новым продуктам</a:t>
                      </a: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0334078"/>
                  </a:ext>
                </a:extLst>
              </a:tr>
              <a:tr h="506476">
                <a:tc>
                  <a:txBody>
                    <a:bodyPr/>
                    <a:lstStyle/>
                    <a:p>
                      <a:pPr marL="0" marR="0" lvl="0" indent="0" algn="r" defTabSz="11519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0" dirty="0">
                          <a:latin typeface="SB Sans Display Light" panose="020B0303040504020204"/>
                        </a:rPr>
                        <a:t>Масштабируемость</a:t>
                      </a:r>
                      <a:endParaRPr lang="en-US" sz="19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6661434"/>
                  </a:ext>
                </a:extLst>
              </a:tr>
              <a:tr h="506476">
                <a:tc>
                  <a:txBody>
                    <a:bodyPr/>
                    <a:lstStyle/>
                    <a:p>
                      <a:pPr marL="0" marR="0" lvl="0" indent="0" algn="r" defTabSz="11519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0" dirty="0">
                          <a:latin typeface="SB Sans Display Light" panose="020B0303040504020204"/>
                        </a:rPr>
                        <a:t>Интеграция в периметре</a:t>
                      </a:r>
                      <a:r>
                        <a:rPr lang="ru-RU" sz="1900" b="0" baseline="0" dirty="0">
                          <a:latin typeface="SB Sans Display Light" panose="020B0303040504020204"/>
                        </a:rPr>
                        <a:t> АСУР ФР</a:t>
                      </a:r>
                      <a:endParaRPr lang="en-US" sz="19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19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19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19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3494812"/>
                  </a:ext>
                </a:extLst>
              </a:tr>
              <a:tr h="612876">
                <a:tc>
                  <a:txBody>
                    <a:bodyPr/>
                    <a:lstStyle/>
                    <a:p>
                      <a:pPr algn="r"/>
                      <a:r>
                        <a:rPr lang="ru-RU" sz="1900" b="0" dirty="0">
                          <a:latin typeface="SB Sans Display Light" panose="020B0303040504020204"/>
                        </a:rPr>
                        <a:t>Расширяемость</a:t>
                      </a:r>
                    </a:p>
                    <a:p>
                      <a:pPr algn="r"/>
                      <a:r>
                        <a:rPr lang="ru-RU" sz="1500" b="0" dirty="0">
                          <a:latin typeface="SB Sans Display Light" panose="020B0303040504020204"/>
                        </a:rPr>
                        <a:t>(цифровые каналы, хеджи, новые метрики)</a:t>
                      </a:r>
                      <a:endParaRPr lang="en-US" sz="15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1959903"/>
                  </a:ext>
                </a:extLst>
              </a:tr>
              <a:tr h="1128982">
                <a:tc>
                  <a:txBody>
                    <a:bodyPr/>
                    <a:lstStyle/>
                    <a:p>
                      <a:pPr algn="r"/>
                      <a:r>
                        <a:rPr lang="ru-RU" sz="1900" b="0" dirty="0">
                          <a:latin typeface="SB Sans Display Light" panose="020B0303040504020204"/>
                        </a:rPr>
                        <a:t>Стоимость лицензии</a:t>
                      </a:r>
                      <a:endParaRPr lang="en-US" sz="1900" b="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SB Sans Display Light" panose="020B0303040504020204"/>
                        </a:rPr>
                        <a:t>0</a:t>
                      </a: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latin typeface="SB Sans Display Light" panose="020B0303040504020204"/>
                        </a:rPr>
                        <a:t>$</a:t>
                      </a:r>
                      <a:r>
                        <a:rPr lang="ru-RU" sz="1700" dirty="0">
                          <a:latin typeface="SB Sans Display Light" panose="020B0303040504020204"/>
                        </a:rPr>
                        <a:t>5</a:t>
                      </a:r>
                      <a:r>
                        <a:rPr lang="en-US" sz="1700" dirty="0">
                          <a:latin typeface="SB Sans Display Light" panose="020B0303040504020204"/>
                        </a:rPr>
                        <a:t>40</a:t>
                      </a:r>
                      <a:r>
                        <a:rPr lang="ru-RU" sz="1700" dirty="0">
                          <a:latin typeface="SB Sans Display Light" panose="020B0303040504020204"/>
                        </a:rPr>
                        <a:t> </a:t>
                      </a:r>
                      <a:r>
                        <a:rPr lang="ru-RU" sz="1700" dirty="0" err="1">
                          <a:latin typeface="SB Sans Display Light" panose="020B0303040504020204"/>
                        </a:rPr>
                        <a:t>тыс</a:t>
                      </a:r>
                      <a:r>
                        <a:rPr lang="ru-RU" sz="1700" dirty="0">
                          <a:latin typeface="SB Sans Display Light" panose="020B0303040504020204"/>
                        </a:rPr>
                        <a:t> /год</a:t>
                      </a: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latin typeface="SB Sans Display Light" panose="020B0303040504020204"/>
                        </a:rPr>
                        <a:t>$</a:t>
                      </a:r>
                      <a:r>
                        <a:rPr lang="ru-RU" sz="1700" dirty="0">
                          <a:latin typeface="SB Sans Display Light" panose="020B0303040504020204"/>
                        </a:rPr>
                        <a:t>400 </a:t>
                      </a:r>
                      <a:r>
                        <a:rPr lang="ru-RU" sz="1700" dirty="0" err="1">
                          <a:latin typeface="SB Sans Display Light" panose="020B0303040504020204"/>
                        </a:rPr>
                        <a:t>тыс</a:t>
                      </a:r>
                      <a:r>
                        <a:rPr lang="ru-RU" sz="1700" baseline="0" dirty="0">
                          <a:latin typeface="SB Sans Display Light" panose="020B0303040504020204"/>
                        </a:rPr>
                        <a:t> – внедрение</a:t>
                      </a:r>
                    </a:p>
                    <a:p>
                      <a:pPr algn="ctr"/>
                      <a:r>
                        <a:rPr lang="en-US" sz="1700" dirty="0">
                          <a:latin typeface="SB Sans Display Light" panose="020B0303040504020204"/>
                        </a:rPr>
                        <a:t>$</a:t>
                      </a:r>
                      <a:r>
                        <a:rPr lang="ru-RU" sz="1700" dirty="0">
                          <a:latin typeface="SB Sans Display Light" panose="020B0303040504020204"/>
                        </a:rPr>
                        <a:t>200 </a:t>
                      </a:r>
                      <a:r>
                        <a:rPr lang="ru-RU" sz="1700" dirty="0" err="1">
                          <a:latin typeface="SB Sans Display Light" panose="020B0303040504020204"/>
                        </a:rPr>
                        <a:t>тыс</a:t>
                      </a:r>
                      <a:r>
                        <a:rPr lang="ru-RU" sz="1700" dirty="0">
                          <a:latin typeface="SB Sans Display Light" panose="020B0303040504020204"/>
                        </a:rPr>
                        <a:t>/год - сопровождение</a:t>
                      </a: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SB Sans Display Light" panose="020B0303040504020204"/>
                        </a:rPr>
                        <a:t>0</a:t>
                      </a:r>
                      <a:endParaRPr lang="en-US" sz="1700" dirty="0">
                        <a:latin typeface="SB Sans Display Light" panose="020B0303040504020204"/>
                      </a:endParaRPr>
                    </a:p>
                  </a:txBody>
                  <a:tcPr marL="96770" marR="96770" marT="48385" marB="48385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8517097"/>
                  </a:ext>
                </a:extLst>
              </a:tr>
            </a:tbl>
          </a:graphicData>
        </a:graphic>
      </p:graphicFrame>
      <p:grpSp>
        <p:nvGrpSpPr>
          <p:cNvPr id="17" name="Group 236"/>
          <p:cNvGrpSpPr>
            <a:grpSpLocks noChangeAspect="1"/>
          </p:cNvGrpSpPr>
          <p:nvPr/>
        </p:nvGrpSpPr>
        <p:grpSpPr bwMode="auto">
          <a:xfrm>
            <a:off x="4979081" y="1891071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18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23" name="Group 236"/>
          <p:cNvGrpSpPr>
            <a:grpSpLocks noChangeAspect="1"/>
          </p:cNvGrpSpPr>
          <p:nvPr/>
        </p:nvGrpSpPr>
        <p:grpSpPr bwMode="auto">
          <a:xfrm>
            <a:off x="4979081" y="2405535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24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5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32" name="Group 236"/>
          <p:cNvGrpSpPr>
            <a:grpSpLocks noChangeAspect="1"/>
          </p:cNvGrpSpPr>
          <p:nvPr/>
        </p:nvGrpSpPr>
        <p:grpSpPr bwMode="auto">
          <a:xfrm>
            <a:off x="6932989" y="4397594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33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34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35" name="Group 236"/>
          <p:cNvGrpSpPr>
            <a:grpSpLocks noChangeAspect="1"/>
          </p:cNvGrpSpPr>
          <p:nvPr/>
        </p:nvGrpSpPr>
        <p:grpSpPr bwMode="auto">
          <a:xfrm>
            <a:off x="4970679" y="2881739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36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37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38" name="Group 236"/>
          <p:cNvGrpSpPr>
            <a:grpSpLocks noChangeAspect="1"/>
          </p:cNvGrpSpPr>
          <p:nvPr/>
        </p:nvGrpSpPr>
        <p:grpSpPr bwMode="auto">
          <a:xfrm>
            <a:off x="4981474" y="3415133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39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40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47" name="Group 234"/>
          <p:cNvGrpSpPr>
            <a:grpSpLocks noChangeAspect="1"/>
          </p:cNvGrpSpPr>
          <p:nvPr/>
        </p:nvGrpSpPr>
        <p:grpSpPr bwMode="auto">
          <a:xfrm>
            <a:off x="6900783" y="1887606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48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49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50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51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52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60" name="Group 234"/>
          <p:cNvGrpSpPr>
            <a:grpSpLocks noChangeAspect="1"/>
          </p:cNvGrpSpPr>
          <p:nvPr/>
        </p:nvGrpSpPr>
        <p:grpSpPr bwMode="auto">
          <a:xfrm>
            <a:off x="6907177" y="3896911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61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62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63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64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65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84" name="Group 236"/>
          <p:cNvGrpSpPr>
            <a:grpSpLocks noChangeAspect="1"/>
          </p:cNvGrpSpPr>
          <p:nvPr/>
        </p:nvGrpSpPr>
        <p:grpSpPr bwMode="auto">
          <a:xfrm>
            <a:off x="4979081" y="3921582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85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86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87" name="Group 236"/>
          <p:cNvGrpSpPr>
            <a:grpSpLocks noChangeAspect="1"/>
          </p:cNvGrpSpPr>
          <p:nvPr/>
        </p:nvGrpSpPr>
        <p:grpSpPr bwMode="auto">
          <a:xfrm>
            <a:off x="6932989" y="4938291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88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89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11" name="Group 236"/>
          <p:cNvGrpSpPr>
            <a:grpSpLocks noChangeAspect="1"/>
          </p:cNvGrpSpPr>
          <p:nvPr/>
        </p:nvGrpSpPr>
        <p:grpSpPr bwMode="auto">
          <a:xfrm>
            <a:off x="4970679" y="4394425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112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13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14" name="Group 236"/>
          <p:cNvGrpSpPr>
            <a:grpSpLocks noChangeAspect="1"/>
          </p:cNvGrpSpPr>
          <p:nvPr/>
        </p:nvGrpSpPr>
        <p:grpSpPr bwMode="auto">
          <a:xfrm>
            <a:off x="4967572" y="4941714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115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16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17" name="Group 234"/>
          <p:cNvGrpSpPr>
            <a:grpSpLocks noChangeAspect="1"/>
          </p:cNvGrpSpPr>
          <p:nvPr/>
        </p:nvGrpSpPr>
        <p:grpSpPr bwMode="auto">
          <a:xfrm>
            <a:off x="6907177" y="2387605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18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19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0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1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2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23" name="Group 234"/>
          <p:cNvGrpSpPr>
            <a:grpSpLocks noChangeAspect="1"/>
          </p:cNvGrpSpPr>
          <p:nvPr/>
        </p:nvGrpSpPr>
        <p:grpSpPr bwMode="auto">
          <a:xfrm>
            <a:off x="6899758" y="2884874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24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5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6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7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28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29" name="Group 234"/>
          <p:cNvGrpSpPr>
            <a:grpSpLocks noChangeAspect="1"/>
          </p:cNvGrpSpPr>
          <p:nvPr/>
        </p:nvGrpSpPr>
        <p:grpSpPr bwMode="auto">
          <a:xfrm>
            <a:off x="6905050" y="3380244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30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31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32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33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34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35" name="Group 236"/>
          <p:cNvGrpSpPr>
            <a:grpSpLocks noChangeAspect="1"/>
          </p:cNvGrpSpPr>
          <p:nvPr/>
        </p:nvGrpSpPr>
        <p:grpSpPr bwMode="auto">
          <a:xfrm>
            <a:off x="8917283" y="4401016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136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37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38" name="Group 234"/>
          <p:cNvGrpSpPr>
            <a:grpSpLocks noChangeAspect="1"/>
          </p:cNvGrpSpPr>
          <p:nvPr/>
        </p:nvGrpSpPr>
        <p:grpSpPr bwMode="auto">
          <a:xfrm>
            <a:off x="8885077" y="1891029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39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0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1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2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3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44" name="Group 234"/>
          <p:cNvGrpSpPr>
            <a:grpSpLocks noChangeAspect="1"/>
          </p:cNvGrpSpPr>
          <p:nvPr/>
        </p:nvGrpSpPr>
        <p:grpSpPr bwMode="auto">
          <a:xfrm>
            <a:off x="8891471" y="3900333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45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6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7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8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49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59" name="Group 234"/>
          <p:cNvGrpSpPr>
            <a:grpSpLocks noChangeAspect="1"/>
          </p:cNvGrpSpPr>
          <p:nvPr/>
        </p:nvGrpSpPr>
        <p:grpSpPr bwMode="auto">
          <a:xfrm>
            <a:off x="8884052" y="2888296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60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61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62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63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64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71" name="Group 236"/>
          <p:cNvGrpSpPr>
            <a:grpSpLocks noChangeAspect="1"/>
          </p:cNvGrpSpPr>
          <p:nvPr/>
        </p:nvGrpSpPr>
        <p:grpSpPr bwMode="auto">
          <a:xfrm>
            <a:off x="8917283" y="2405642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172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73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74" name="Group 236"/>
          <p:cNvGrpSpPr>
            <a:grpSpLocks noChangeAspect="1"/>
          </p:cNvGrpSpPr>
          <p:nvPr/>
        </p:nvGrpSpPr>
        <p:grpSpPr bwMode="auto">
          <a:xfrm>
            <a:off x="8917283" y="3409967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175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76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77" name="Group 234"/>
          <p:cNvGrpSpPr>
            <a:grpSpLocks noChangeAspect="1"/>
          </p:cNvGrpSpPr>
          <p:nvPr/>
        </p:nvGrpSpPr>
        <p:grpSpPr bwMode="auto">
          <a:xfrm>
            <a:off x="8896111" y="4952444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78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79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0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1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2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83" name="Group 234"/>
          <p:cNvGrpSpPr>
            <a:grpSpLocks noChangeAspect="1"/>
          </p:cNvGrpSpPr>
          <p:nvPr/>
        </p:nvGrpSpPr>
        <p:grpSpPr bwMode="auto">
          <a:xfrm>
            <a:off x="10790208" y="1891029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84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5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6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7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88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89" name="Group 234"/>
          <p:cNvGrpSpPr>
            <a:grpSpLocks noChangeAspect="1"/>
          </p:cNvGrpSpPr>
          <p:nvPr/>
        </p:nvGrpSpPr>
        <p:grpSpPr bwMode="auto">
          <a:xfrm>
            <a:off x="10796602" y="4405844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90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1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2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3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4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195" name="Group 234"/>
          <p:cNvGrpSpPr>
            <a:grpSpLocks noChangeAspect="1"/>
          </p:cNvGrpSpPr>
          <p:nvPr/>
        </p:nvGrpSpPr>
        <p:grpSpPr bwMode="auto">
          <a:xfrm>
            <a:off x="10796602" y="2391028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196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7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8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199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00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201" name="Group 234"/>
          <p:cNvGrpSpPr>
            <a:grpSpLocks noChangeAspect="1"/>
          </p:cNvGrpSpPr>
          <p:nvPr/>
        </p:nvGrpSpPr>
        <p:grpSpPr bwMode="auto">
          <a:xfrm>
            <a:off x="10789183" y="3393807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202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03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04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05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06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207" name="Group 234"/>
          <p:cNvGrpSpPr>
            <a:grpSpLocks noChangeAspect="1"/>
          </p:cNvGrpSpPr>
          <p:nvPr/>
        </p:nvGrpSpPr>
        <p:grpSpPr bwMode="auto">
          <a:xfrm>
            <a:off x="10794475" y="3889177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208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09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0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1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2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213" name="Group 234"/>
          <p:cNvGrpSpPr>
            <a:grpSpLocks noChangeAspect="1"/>
          </p:cNvGrpSpPr>
          <p:nvPr/>
        </p:nvGrpSpPr>
        <p:grpSpPr bwMode="auto">
          <a:xfrm>
            <a:off x="10805772" y="4946895"/>
            <a:ext cx="384360" cy="380984"/>
            <a:chOff x="13436" y="6133"/>
            <a:chExt cx="911" cy="903"/>
          </a:xfrm>
          <a:solidFill>
            <a:srgbClr val="EA3B51"/>
          </a:solidFill>
        </p:grpSpPr>
        <p:sp>
          <p:nvSpPr>
            <p:cNvPr id="214" name="Freeform 236"/>
            <p:cNvSpPr>
              <a:spLocks noEditPoints="1"/>
            </p:cNvSpPr>
            <p:nvPr/>
          </p:nvSpPr>
          <p:spPr bwMode="auto">
            <a:xfrm>
              <a:off x="13436" y="6133"/>
              <a:ext cx="911" cy="903"/>
            </a:xfrm>
            <a:custGeom>
              <a:avLst/>
              <a:gdLst>
                <a:gd name="T0" fmla="*/ 1522 w 3645"/>
                <a:gd name="T1" fmla="*/ 2554 h 3611"/>
                <a:gd name="T2" fmla="*/ 1318 w 3645"/>
                <a:gd name="T3" fmla="*/ 3491 h 3611"/>
                <a:gd name="T4" fmla="*/ 2030 w 3645"/>
                <a:gd name="T5" fmla="*/ 2604 h 3611"/>
                <a:gd name="T6" fmla="*/ 1401 w 3645"/>
                <a:gd name="T7" fmla="*/ 1878 h 3611"/>
                <a:gd name="T8" fmla="*/ 2201 w 3645"/>
                <a:gd name="T9" fmla="*/ 84 h 3611"/>
                <a:gd name="T10" fmla="*/ 2549 w 3645"/>
                <a:gd name="T11" fmla="*/ 368 h 3611"/>
                <a:gd name="T12" fmla="*/ 2717 w 3645"/>
                <a:gd name="T13" fmla="*/ 791 h 3611"/>
                <a:gd name="T14" fmla="*/ 3050 w 3645"/>
                <a:gd name="T15" fmla="*/ 690 h 3611"/>
                <a:gd name="T16" fmla="*/ 3400 w 3645"/>
                <a:gd name="T17" fmla="*/ 805 h 3611"/>
                <a:gd name="T18" fmla="*/ 3614 w 3645"/>
                <a:gd name="T19" fmla="*/ 1098 h 3611"/>
                <a:gd name="T20" fmla="*/ 3614 w 3645"/>
                <a:gd name="T21" fmla="*/ 1473 h 3611"/>
                <a:gd name="T22" fmla="*/ 3400 w 3645"/>
                <a:gd name="T23" fmla="*/ 1765 h 3611"/>
                <a:gd name="T24" fmla="*/ 3050 w 3645"/>
                <a:gd name="T25" fmla="*/ 1878 h 3611"/>
                <a:gd name="T26" fmla="*/ 2674 w 3645"/>
                <a:gd name="T27" fmla="*/ 1821 h 3611"/>
                <a:gd name="T28" fmla="*/ 3050 w 3645"/>
                <a:gd name="T29" fmla="*/ 1763 h 3611"/>
                <a:gd name="T30" fmla="*/ 3350 w 3645"/>
                <a:gd name="T31" fmla="*/ 1658 h 3611"/>
                <a:gd name="T32" fmla="*/ 3516 w 3645"/>
                <a:gd name="T33" fmla="*/ 1394 h 3611"/>
                <a:gd name="T34" fmla="*/ 3481 w 3645"/>
                <a:gd name="T35" fmla="*/ 1074 h 3611"/>
                <a:gd name="T36" fmla="*/ 3261 w 3645"/>
                <a:gd name="T37" fmla="*/ 854 h 3611"/>
                <a:gd name="T38" fmla="*/ 2954 w 3645"/>
                <a:gd name="T39" fmla="*/ 814 h 3611"/>
                <a:gd name="T40" fmla="*/ 2707 w 3645"/>
                <a:gd name="T41" fmla="*/ 949 h 3611"/>
                <a:gd name="T42" fmla="*/ 2622 w 3645"/>
                <a:gd name="T43" fmla="*/ 946 h 3611"/>
                <a:gd name="T44" fmla="*/ 2596 w 3645"/>
                <a:gd name="T45" fmla="*/ 760 h 3611"/>
                <a:gd name="T46" fmla="*/ 2423 w 3645"/>
                <a:gd name="T47" fmla="*/ 394 h 3611"/>
                <a:gd name="T48" fmla="*/ 2096 w 3645"/>
                <a:gd name="T49" fmla="*/ 164 h 3611"/>
                <a:gd name="T50" fmla="*/ 1681 w 3645"/>
                <a:gd name="T51" fmla="*/ 127 h 3611"/>
                <a:gd name="T52" fmla="*/ 1315 w 3645"/>
                <a:gd name="T53" fmla="*/ 300 h 3611"/>
                <a:gd name="T54" fmla="*/ 1086 w 3645"/>
                <a:gd name="T55" fmla="*/ 626 h 3611"/>
                <a:gd name="T56" fmla="*/ 1034 w 3645"/>
                <a:gd name="T57" fmla="*/ 924 h 3611"/>
                <a:gd name="T58" fmla="*/ 962 w 3645"/>
                <a:gd name="T59" fmla="*/ 964 h 3611"/>
                <a:gd name="T60" fmla="*/ 780 w 3645"/>
                <a:gd name="T61" fmla="*/ 842 h 3611"/>
                <a:gd name="T62" fmla="*/ 484 w 3645"/>
                <a:gd name="T63" fmla="*/ 817 h 3611"/>
                <a:gd name="T64" fmla="*/ 218 w 3645"/>
                <a:gd name="T65" fmla="*/ 988 h 3611"/>
                <a:gd name="T66" fmla="*/ 115 w 3645"/>
                <a:gd name="T67" fmla="*/ 1292 h 3611"/>
                <a:gd name="T68" fmla="*/ 226 w 3645"/>
                <a:gd name="T69" fmla="*/ 1588 h 3611"/>
                <a:gd name="T70" fmla="*/ 492 w 3645"/>
                <a:gd name="T71" fmla="*/ 1751 h 3611"/>
                <a:gd name="T72" fmla="*/ 2498 w 3645"/>
                <a:gd name="T73" fmla="*/ 1788 h 3611"/>
                <a:gd name="T74" fmla="*/ 2470 w 3645"/>
                <a:gd name="T75" fmla="*/ 1876 h 3611"/>
                <a:gd name="T76" fmla="*/ 2357 w 3645"/>
                <a:gd name="T77" fmla="*/ 2539 h 3611"/>
                <a:gd name="T78" fmla="*/ 2420 w 3645"/>
                <a:gd name="T79" fmla="*/ 2645 h 3611"/>
                <a:gd name="T80" fmla="*/ 1351 w 3645"/>
                <a:gd name="T81" fmla="*/ 3605 h 3611"/>
                <a:gd name="T82" fmla="*/ 1234 w 3645"/>
                <a:gd name="T83" fmla="*/ 3579 h 3611"/>
                <a:gd name="T84" fmla="*/ 1439 w 3645"/>
                <a:gd name="T85" fmla="*/ 2645 h 3611"/>
                <a:gd name="T86" fmla="*/ 1037 w 3645"/>
                <a:gd name="T87" fmla="*/ 2603 h 3611"/>
                <a:gd name="T88" fmla="*/ 1277 w 3645"/>
                <a:gd name="T89" fmla="*/ 1878 h 3611"/>
                <a:gd name="T90" fmla="*/ 295 w 3645"/>
                <a:gd name="T91" fmla="*/ 1798 h 3611"/>
                <a:gd name="T92" fmla="*/ 53 w 3645"/>
                <a:gd name="T93" fmla="*/ 1530 h 3611"/>
                <a:gd name="T94" fmla="*/ 13 w 3645"/>
                <a:gd name="T95" fmla="*/ 1158 h 3611"/>
                <a:gd name="T96" fmla="*/ 197 w 3645"/>
                <a:gd name="T97" fmla="*/ 844 h 3611"/>
                <a:gd name="T98" fmla="*/ 530 w 3645"/>
                <a:gd name="T99" fmla="*/ 694 h 3611"/>
                <a:gd name="T100" fmla="*/ 877 w 3645"/>
                <a:gd name="T101" fmla="*/ 761 h 3611"/>
                <a:gd name="T102" fmla="*/ 1053 w 3645"/>
                <a:gd name="T103" fmla="*/ 431 h 3611"/>
                <a:gd name="T104" fmla="*/ 1375 w 3645"/>
                <a:gd name="T105" fmla="*/ 118 h 3611"/>
                <a:gd name="T106" fmla="*/ 1822 w 3645"/>
                <a:gd name="T107" fmla="*/ 0 h 3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45" h="3611">
                  <a:moveTo>
                    <a:pt x="1401" y="1878"/>
                  </a:moveTo>
                  <a:lnTo>
                    <a:pt x="1140" y="2530"/>
                  </a:lnTo>
                  <a:lnTo>
                    <a:pt x="1457" y="2530"/>
                  </a:lnTo>
                  <a:lnTo>
                    <a:pt x="1480" y="2534"/>
                  </a:lnTo>
                  <a:lnTo>
                    <a:pt x="1502" y="2541"/>
                  </a:lnTo>
                  <a:lnTo>
                    <a:pt x="1522" y="2554"/>
                  </a:lnTo>
                  <a:lnTo>
                    <a:pt x="1538" y="2571"/>
                  </a:lnTo>
                  <a:lnTo>
                    <a:pt x="1550" y="2591"/>
                  </a:lnTo>
                  <a:lnTo>
                    <a:pt x="1556" y="2613"/>
                  </a:lnTo>
                  <a:lnTo>
                    <a:pt x="1559" y="2636"/>
                  </a:lnTo>
                  <a:lnTo>
                    <a:pt x="1554" y="2660"/>
                  </a:lnTo>
                  <a:lnTo>
                    <a:pt x="1318" y="3491"/>
                  </a:lnTo>
                  <a:lnTo>
                    <a:pt x="2283" y="2645"/>
                  </a:lnTo>
                  <a:lnTo>
                    <a:pt x="2111" y="2645"/>
                  </a:lnTo>
                  <a:lnTo>
                    <a:pt x="2088" y="2643"/>
                  </a:lnTo>
                  <a:lnTo>
                    <a:pt x="2066" y="2635"/>
                  </a:lnTo>
                  <a:lnTo>
                    <a:pt x="2046" y="2622"/>
                  </a:lnTo>
                  <a:lnTo>
                    <a:pt x="2030" y="2604"/>
                  </a:lnTo>
                  <a:lnTo>
                    <a:pt x="2019" y="2585"/>
                  </a:lnTo>
                  <a:lnTo>
                    <a:pt x="2012" y="2562"/>
                  </a:lnTo>
                  <a:lnTo>
                    <a:pt x="2010" y="2538"/>
                  </a:lnTo>
                  <a:lnTo>
                    <a:pt x="2014" y="2515"/>
                  </a:lnTo>
                  <a:lnTo>
                    <a:pt x="2205" y="1878"/>
                  </a:lnTo>
                  <a:lnTo>
                    <a:pt x="1401" y="1878"/>
                  </a:lnTo>
                  <a:close/>
                  <a:moveTo>
                    <a:pt x="1822" y="0"/>
                  </a:moveTo>
                  <a:lnTo>
                    <a:pt x="1902" y="3"/>
                  </a:lnTo>
                  <a:lnTo>
                    <a:pt x="1981" y="14"/>
                  </a:lnTo>
                  <a:lnTo>
                    <a:pt x="2057" y="31"/>
                  </a:lnTo>
                  <a:lnTo>
                    <a:pt x="2130" y="54"/>
                  </a:lnTo>
                  <a:lnTo>
                    <a:pt x="2201" y="84"/>
                  </a:lnTo>
                  <a:lnTo>
                    <a:pt x="2268" y="118"/>
                  </a:lnTo>
                  <a:lnTo>
                    <a:pt x="2333" y="159"/>
                  </a:lnTo>
                  <a:lnTo>
                    <a:pt x="2393" y="204"/>
                  </a:lnTo>
                  <a:lnTo>
                    <a:pt x="2450" y="254"/>
                  </a:lnTo>
                  <a:lnTo>
                    <a:pt x="2502" y="309"/>
                  </a:lnTo>
                  <a:lnTo>
                    <a:pt x="2549" y="368"/>
                  </a:lnTo>
                  <a:lnTo>
                    <a:pt x="2591" y="431"/>
                  </a:lnTo>
                  <a:lnTo>
                    <a:pt x="2628" y="497"/>
                  </a:lnTo>
                  <a:lnTo>
                    <a:pt x="2660" y="567"/>
                  </a:lnTo>
                  <a:lnTo>
                    <a:pt x="2685" y="638"/>
                  </a:lnTo>
                  <a:lnTo>
                    <a:pt x="2704" y="714"/>
                  </a:lnTo>
                  <a:lnTo>
                    <a:pt x="2717" y="791"/>
                  </a:lnTo>
                  <a:lnTo>
                    <a:pt x="2767" y="761"/>
                  </a:lnTo>
                  <a:lnTo>
                    <a:pt x="2820" y="736"/>
                  </a:lnTo>
                  <a:lnTo>
                    <a:pt x="2875" y="716"/>
                  </a:lnTo>
                  <a:lnTo>
                    <a:pt x="2932" y="701"/>
                  </a:lnTo>
                  <a:lnTo>
                    <a:pt x="2990" y="693"/>
                  </a:lnTo>
                  <a:lnTo>
                    <a:pt x="3050" y="690"/>
                  </a:lnTo>
                  <a:lnTo>
                    <a:pt x="3115" y="694"/>
                  </a:lnTo>
                  <a:lnTo>
                    <a:pt x="3177" y="704"/>
                  </a:lnTo>
                  <a:lnTo>
                    <a:pt x="3238" y="720"/>
                  </a:lnTo>
                  <a:lnTo>
                    <a:pt x="3295" y="743"/>
                  </a:lnTo>
                  <a:lnTo>
                    <a:pt x="3350" y="772"/>
                  </a:lnTo>
                  <a:lnTo>
                    <a:pt x="3400" y="805"/>
                  </a:lnTo>
                  <a:lnTo>
                    <a:pt x="3448" y="844"/>
                  </a:lnTo>
                  <a:lnTo>
                    <a:pt x="3491" y="887"/>
                  </a:lnTo>
                  <a:lnTo>
                    <a:pt x="3530" y="935"/>
                  </a:lnTo>
                  <a:lnTo>
                    <a:pt x="3563" y="985"/>
                  </a:lnTo>
                  <a:lnTo>
                    <a:pt x="3592" y="1040"/>
                  </a:lnTo>
                  <a:lnTo>
                    <a:pt x="3614" y="1098"/>
                  </a:lnTo>
                  <a:lnTo>
                    <a:pt x="3630" y="1158"/>
                  </a:lnTo>
                  <a:lnTo>
                    <a:pt x="3641" y="1221"/>
                  </a:lnTo>
                  <a:lnTo>
                    <a:pt x="3645" y="1285"/>
                  </a:lnTo>
                  <a:lnTo>
                    <a:pt x="3641" y="1349"/>
                  </a:lnTo>
                  <a:lnTo>
                    <a:pt x="3630" y="1412"/>
                  </a:lnTo>
                  <a:lnTo>
                    <a:pt x="3614" y="1473"/>
                  </a:lnTo>
                  <a:lnTo>
                    <a:pt x="3592" y="1530"/>
                  </a:lnTo>
                  <a:lnTo>
                    <a:pt x="3563" y="1584"/>
                  </a:lnTo>
                  <a:lnTo>
                    <a:pt x="3530" y="1635"/>
                  </a:lnTo>
                  <a:lnTo>
                    <a:pt x="3491" y="1683"/>
                  </a:lnTo>
                  <a:lnTo>
                    <a:pt x="3448" y="1726"/>
                  </a:lnTo>
                  <a:lnTo>
                    <a:pt x="3400" y="1765"/>
                  </a:lnTo>
                  <a:lnTo>
                    <a:pt x="3350" y="1798"/>
                  </a:lnTo>
                  <a:lnTo>
                    <a:pt x="3295" y="1825"/>
                  </a:lnTo>
                  <a:lnTo>
                    <a:pt x="3238" y="1849"/>
                  </a:lnTo>
                  <a:lnTo>
                    <a:pt x="3177" y="1865"/>
                  </a:lnTo>
                  <a:lnTo>
                    <a:pt x="3114" y="1875"/>
                  </a:lnTo>
                  <a:lnTo>
                    <a:pt x="3050" y="1878"/>
                  </a:lnTo>
                  <a:lnTo>
                    <a:pt x="2732" y="1878"/>
                  </a:lnTo>
                  <a:lnTo>
                    <a:pt x="2714" y="1876"/>
                  </a:lnTo>
                  <a:lnTo>
                    <a:pt x="2698" y="1867"/>
                  </a:lnTo>
                  <a:lnTo>
                    <a:pt x="2685" y="1855"/>
                  </a:lnTo>
                  <a:lnTo>
                    <a:pt x="2677" y="1840"/>
                  </a:lnTo>
                  <a:lnTo>
                    <a:pt x="2674" y="1821"/>
                  </a:lnTo>
                  <a:lnTo>
                    <a:pt x="2677" y="1803"/>
                  </a:lnTo>
                  <a:lnTo>
                    <a:pt x="2685" y="1788"/>
                  </a:lnTo>
                  <a:lnTo>
                    <a:pt x="2698" y="1775"/>
                  </a:lnTo>
                  <a:lnTo>
                    <a:pt x="2714" y="1767"/>
                  </a:lnTo>
                  <a:lnTo>
                    <a:pt x="2732" y="1763"/>
                  </a:lnTo>
                  <a:lnTo>
                    <a:pt x="3050" y="1763"/>
                  </a:lnTo>
                  <a:lnTo>
                    <a:pt x="3105" y="1760"/>
                  </a:lnTo>
                  <a:lnTo>
                    <a:pt x="3159" y="1751"/>
                  </a:lnTo>
                  <a:lnTo>
                    <a:pt x="3211" y="1736"/>
                  </a:lnTo>
                  <a:lnTo>
                    <a:pt x="3260" y="1715"/>
                  </a:lnTo>
                  <a:lnTo>
                    <a:pt x="3306" y="1689"/>
                  </a:lnTo>
                  <a:lnTo>
                    <a:pt x="3350" y="1658"/>
                  </a:lnTo>
                  <a:lnTo>
                    <a:pt x="3388" y="1623"/>
                  </a:lnTo>
                  <a:lnTo>
                    <a:pt x="3424" y="1584"/>
                  </a:lnTo>
                  <a:lnTo>
                    <a:pt x="3455" y="1541"/>
                  </a:lnTo>
                  <a:lnTo>
                    <a:pt x="3480" y="1495"/>
                  </a:lnTo>
                  <a:lnTo>
                    <a:pt x="3501" y="1446"/>
                  </a:lnTo>
                  <a:lnTo>
                    <a:pt x="3516" y="1394"/>
                  </a:lnTo>
                  <a:lnTo>
                    <a:pt x="3526" y="1340"/>
                  </a:lnTo>
                  <a:lnTo>
                    <a:pt x="3530" y="1285"/>
                  </a:lnTo>
                  <a:lnTo>
                    <a:pt x="3526" y="1229"/>
                  </a:lnTo>
                  <a:lnTo>
                    <a:pt x="3516" y="1174"/>
                  </a:lnTo>
                  <a:lnTo>
                    <a:pt x="3501" y="1124"/>
                  </a:lnTo>
                  <a:lnTo>
                    <a:pt x="3481" y="1074"/>
                  </a:lnTo>
                  <a:lnTo>
                    <a:pt x="3455" y="1027"/>
                  </a:lnTo>
                  <a:lnTo>
                    <a:pt x="3424" y="984"/>
                  </a:lnTo>
                  <a:lnTo>
                    <a:pt x="3389" y="946"/>
                  </a:lnTo>
                  <a:lnTo>
                    <a:pt x="3350" y="910"/>
                  </a:lnTo>
                  <a:lnTo>
                    <a:pt x="3306" y="879"/>
                  </a:lnTo>
                  <a:lnTo>
                    <a:pt x="3261" y="854"/>
                  </a:lnTo>
                  <a:lnTo>
                    <a:pt x="3211" y="833"/>
                  </a:lnTo>
                  <a:lnTo>
                    <a:pt x="3159" y="817"/>
                  </a:lnTo>
                  <a:lnTo>
                    <a:pt x="3105" y="809"/>
                  </a:lnTo>
                  <a:lnTo>
                    <a:pt x="3050" y="805"/>
                  </a:lnTo>
                  <a:lnTo>
                    <a:pt x="3001" y="808"/>
                  </a:lnTo>
                  <a:lnTo>
                    <a:pt x="2954" y="814"/>
                  </a:lnTo>
                  <a:lnTo>
                    <a:pt x="2908" y="826"/>
                  </a:lnTo>
                  <a:lnTo>
                    <a:pt x="2864" y="842"/>
                  </a:lnTo>
                  <a:lnTo>
                    <a:pt x="2821" y="863"/>
                  </a:lnTo>
                  <a:lnTo>
                    <a:pt x="2781" y="887"/>
                  </a:lnTo>
                  <a:lnTo>
                    <a:pt x="2743" y="916"/>
                  </a:lnTo>
                  <a:lnTo>
                    <a:pt x="2707" y="949"/>
                  </a:lnTo>
                  <a:lnTo>
                    <a:pt x="2694" y="959"/>
                  </a:lnTo>
                  <a:lnTo>
                    <a:pt x="2680" y="964"/>
                  </a:lnTo>
                  <a:lnTo>
                    <a:pt x="2663" y="967"/>
                  </a:lnTo>
                  <a:lnTo>
                    <a:pt x="2648" y="963"/>
                  </a:lnTo>
                  <a:lnTo>
                    <a:pt x="2632" y="956"/>
                  </a:lnTo>
                  <a:lnTo>
                    <a:pt x="2622" y="946"/>
                  </a:lnTo>
                  <a:lnTo>
                    <a:pt x="2614" y="934"/>
                  </a:lnTo>
                  <a:lnTo>
                    <a:pt x="2610" y="920"/>
                  </a:lnTo>
                  <a:lnTo>
                    <a:pt x="2609" y="906"/>
                  </a:lnTo>
                  <a:lnTo>
                    <a:pt x="2609" y="900"/>
                  </a:lnTo>
                  <a:lnTo>
                    <a:pt x="2606" y="830"/>
                  </a:lnTo>
                  <a:lnTo>
                    <a:pt x="2596" y="760"/>
                  </a:lnTo>
                  <a:lnTo>
                    <a:pt x="2580" y="693"/>
                  </a:lnTo>
                  <a:lnTo>
                    <a:pt x="2559" y="626"/>
                  </a:lnTo>
                  <a:lnTo>
                    <a:pt x="2533" y="564"/>
                  </a:lnTo>
                  <a:lnTo>
                    <a:pt x="2502" y="505"/>
                  </a:lnTo>
                  <a:lnTo>
                    <a:pt x="2464" y="447"/>
                  </a:lnTo>
                  <a:lnTo>
                    <a:pt x="2423" y="394"/>
                  </a:lnTo>
                  <a:lnTo>
                    <a:pt x="2378" y="346"/>
                  </a:lnTo>
                  <a:lnTo>
                    <a:pt x="2328" y="300"/>
                  </a:lnTo>
                  <a:lnTo>
                    <a:pt x="2275" y="258"/>
                  </a:lnTo>
                  <a:lnTo>
                    <a:pt x="2219" y="222"/>
                  </a:lnTo>
                  <a:lnTo>
                    <a:pt x="2159" y="191"/>
                  </a:lnTo>
                  <a:lnTo>
                    <a:pt x="2096" y="164"/>
                  </a:lnTo>
                  <a:lnTo>
                    <a:pt x="2031" y="142"/>
                  </a:lnTo>
                  <a:lnTo>
                    <a:pt x="1963" y="127"/>
                  </a:lnTo>
                  <a:lnTo>
                    <a:pt x="1894" y="118"/>
                  </a:lnTo>
                  <a:lnTo>
                    <a:pt x="1822" y="115"/>
                  </a:lnTo>
                  <a:lnTo>
                    <a:pt x="1751" y="118"/>
                  </a:lnTo>
                  <a:lnTo>
                    <a:pt x="1681" y="127"/>
                  </a:lnTo>
                  <a:lnTo>
                    <a:pt x="1613" y="142"/>
                  </a:lnTo>
                  <a:lnTo>
                    <a:pt x="1548" y="164"/>
                  </a:lnTo>
                  <a:lnTo>
                    <a:pt x="1486" y="191"/>
                  </a:lnTo>
                  <a:lnTo>
                    <a:pt x="1426" y="222"/>
                  </a:lnTo>
                  <a:lnTo>
                    <a:pt x="1369" y="258"/>
                  </a:lnTo>
                  <a:lnTo>
                    <a:pt x="1315" y="300"/>
                  </a:lnTo>
                  <a:lnTo>
                    <a:pt x="1267" y="346"/>
                  </a:lnTo>
                  <a:lnTo>
                    <a:pt x="1222" y="394"/>
                  </a:lnTo>
                  <a:lnTo>
                    <a:pt x="1180" y="447"/>
                  </a:lnTo>
                  <a:lnTo>
                    <a:pt x="1143" y="505"/>
                  </a:lnTo>
                  <a:lnTo>
                    <a:pt x="1112" y="564"/>
                  </a:lnTo>
                  <a:lnTo>
                    <a:pt x="1086" y="626"/>
                  </a:lnTo>
                  <a:lnTo>
                    <a:pt x="1063" y="693"/>
                  </a:lnTo>
                  <a:lnTo>
                    <a:pt x="1048" y="760"/>
                  </a:lnTo>
                  <a:lnTo>
                    <a:pt x="1039" y="830"/>
                  </a:lnTo>
                  <a:lnTo>
                    <a:pt x="1036" y="900"/>
                  </a:lnTo>
                  <a:lnTo>
                    <a:pt x="1036" y="908"/>
                  </a:lnTo>
                  <a:lnTo>
                    <a:pt x="1034" y="924"/>
                  </a:lnTo>
                  <a:lnTo>
                    <a:pt x="1028" y="938"/>
                  </a:lnTo>
                  <a:lnTo>
                    <a:pt x="1019" y="950"/>
                  </a:lnTo>
                  <a:lnTo>
                    <a:pt x="1007" y="959"/>
                  </a:lnTo>
                  <a:lnTo>
                    <a:pt x="993" y="964"/>
                  </a:lnTo>
                  <a:lnTo>
                    <a:pt x="975" y="967"/>
                  </a:lnTo>
                  <a:lnTo>
                    <a:pt x="962" y="964"/>
                  </a:lnTo>
                  <a:lnTo>
                    <a:pt x="948" y="958"/>
                  </a:lnTo>
                  <a:lnTo>
                    <a:pt x="937" y="949"/>
                  </a:lnTo>
                  <a:lnTo>
                    <a:pt x="901" y="916"/>
                  </a:lnTo>
                  <a:lnTo>
                    <a:pt x="863" y="887"/>
                  </a:lnTo>
                  <a:lnTo>
                    <a:pt x="822" y="863"/>
                  </a:lnTo>
                  <a:lnTo>
                    <a:pt x="780" y="842"/>
                  </a:lnTo>
                  <a:lnTo>
                    <a:pt x="736" y="826"/>
                  </a:lnTo>
                  <a:lnTo>
                    <a:pt x="690" y="814"/>
                  </a:lnTo>
                  <a:lnTo>
                    <a:pt x="643" y="808"/>
                  </a:lnTo>
                  <a:lnTo>
                    <a:pt x="595" y="805"/>
                  </a:lnTo>
                  <a:lnTo>
                    <a:pt x="538" y="809"/>
                  </a:lnTo>
                  <a:lnTo>
                    <a:pt x="484" y="817"/>
                  </a:lnTo>
                  <a:lnTo>
                    <a:pt x="431" y="833"/>
                  </a:lnTo>
                  <a:lnTo>
                    <a:pt x="382" y="855"/>
                  </a:lnTo>
                  <a:lnTo>
                    <a:pt x="336" y="882"/>
                  </a:lnTo>
                  <a:lnTo>
                    <a:pt x="293" y="913"/>
                  </a:lnTo>
                  <a:lnTo>
                    <a:pt x="253" y="948"/>
                  </a:lnTo>
                  <a:lnTo>
                    <a:pt x="218" y="988"/>
                  </a:lnTo>
                  <a:lnTo>
                    <a:pt x="188" y="1031"/>
                  </a:lnTo>
                  <a:lnTo>
                    <a:pt x="161" y="1078"/>
                  </a:lnTo>
                  <a:lnTo>
                    <a:pt x="141" y="1128"/>
                  </a:lnTo>
                  <a:lnTo>
                    <a:pt x="126" y="1180"/>
                  </a:lnTo>
                  <a:lnTo>
                    <a:pt x="117" y="1235"/>
                  </a:lnTo>
                  <a:lnTo>
                    <a:pt x="115" y="1292"/>
                  </a:lnTo>
                  <a:lnTo>
                    <a:pt x="119" y="1347"/>
                  </a:lnTo>
                  <a:lnTo>
                    <a:pt x="129" y="1401"/>
                  </a:lnTo>
                  <a:lnTo>
                    <a:pt x="146" y="1452"/>
                  </a:lnTo>
                  <a:lnTo>
                    <a:pt x="167" y="1500"/>
                  </a:lnTo>
                  <a:lnTo>
                    <a:pt x="195" y="1546"/>
                  </a:lnTo>
                  <a:lnTo>
                    <a:pt x="226" y="1588"/>
                  </a:lnTo>
                  <a:lnTo>
                    <a:pt x="261" y="1626"/>
                  </a:lnTo>
                  <a:lnTo>
                    <a:pt x="301" y="1661"/>
                  </a:lnTo>
                  <a:lnTo>
                    <a:pt x="345" y="1691"/>
                  </a:lnTo>
                  <a:lnTo>
                    <a:pt x="391" y="1716"/>
                  </a:lnTo>
                  <a:lnTo>
                    <a:pt x="440" y="1737"/>
                  </a:lnTo>
                  <a:lnTo>
                    <a:pt x="492" y="1751"/>
                  </a:lnTo>
                  <a:lnTo>
                    <a:pt x="546" y="1760"/>
                  </a:lnTo>
                  <a:lnTo>
                    <a:pt x="601" y="1763"/>
                  </a:lnTo>
                  <a:lnTo>
                    <a:pt x="2452" y="1763"/>
                  </a:lnTo>
                  <a:lnTo>
                    <a:pt x="2470" y="1767"/>
                  </a:lnTo>
                  <a:lnTo>
                    <a:pt x="2486" y="1775"/>
                  </a:lnTo>
                  <a:lnTo>
                    <a:pt x="2498" y="1788"/>
                  </a:lnTo>
                  <a:lnTo>
                    <a:pt x="2506" y="1803"/>
                  </a:lnTo>
                  <a:lnTo>
                    <a:pt x="2509" y="1821"/>
                  </a:lnTo>
                  <a:lnTo>
                    <a:pt x="2506" y="1840"/>
                  </a:lnTo>
                  <a:lnTo>
                    <a:pt x="2498" y="1855"/>
                  </a:lnTo>
                  <a:lnTo>
                    <a:pt x="2486" y="1867"/>
                  </a:lnTo>
                  <a:lnTo>
                    <a:pt x="2470" y="1876"/>
                  </a:lnTo>
                  <a:lnTo>
                    <a:pt x="2452" y="1878"/>
                  </a:lnTo>
                  <a:lnTo>
                    <a:pt x="2326" y="1878"/>
                  </a:lnTo>
                  <a:lnTo>
                    <a:pt x="2130" y="2530"/>
                  </a:lnTo>
                  <a:lnTo>
                    <a:pt x="2316" y="2530"/>
                  </a:lnTo>
                  <a:lnTo>
                    <a:pt x="2337" y="2533"/>
                  </a:lnTo>
                  <a:lnTo>
                    <a:pt x="2357" y="2539"/>
                  </a:lnTo>
                  <a:lnTo>
                    <a:pt x="2376" y="2549"/>
                  </a:lnTo>
                  <a:lnTo>
                    <a:pt x="2392" y="2562"/>
                  </a:lnTo>
                  <a:lnTo>
                    <a:pt x="2404" y="2578"/>
                  </a:lnTo>
                  <a:lnTo>
                    <a:pt x="2414" y="2598"/>
                  </a:lnTo>
                  <a:lnTo>
                    <a:pt x="2420" y="2621"/>
                  </a:lnTo>
                  <a:lnTo>
                    <a:pt x="2420" y="2645"/>
                  </a:lnTo>
                  <a:lnTo>
                    <a:pt x="2414" y="2669"/>
                  </a:lnTo>
                  <a:lnTo>
                    <a:pt x="2402" y="2691"/>
                  </a:lnTo>
                  <a:lnTo>
                    <a:pt x="2386" y="2708"/>
                  </a:lnTo>
                  <a:lnTo>
                    <a:pt x="1386" y="3584"/>
                  </a:lnTo>
                  <a:lnTo>
                    <a:pt x="1370" y="3596"/>
                  </a:lnTo>
                  <a:lnTo>
                    <a:pt x="1351" y="3605"/>
                  </a:lnTo>
                  <a:lnTo>
                    <a:pt x="1332" y="3609"/>
                  </a:lnTo>
                  <a:lnTo>
                    <a:pt x="1312" y="3611"/>
                  </a:lnTo>
                  <a:lnTo>
                    <a:pt x="1292" y="3609"/>
                  </a:lnTo>
                  <a:lnTo>
                    <a:pt x="1272" y="3603"/>
                  </a:lnTo>
                  <a:lnTo>
                    <a:pt x="1254" y="3595"/>
                  </a:lnTo>
                  <a:lnTo>
                    <a:pt x="1234" y="3579"/>
                  </a:lnTo>
                  <a:lnTo>
                    <a:pt x="1218" y="3560"/>
                  </a:lnTo>
                  <a:lnTo>
                    <a:pt x="1207" y="3538"/>
                  </a:lnTo>
                  <a:lnTo>
                    <a:pt x="1202" y="3514"/>
                  </a:lnTo>
                  <a:lnTo>
                    <a:pt x="1201" y="3490"/>
                  </a:lnTo>
                  <a:lnTo>
                    <a:pt x="1205" y="3464"/>
                  </a:lnTo>
                  <a:lnTo>
                    <a:pt x="1439" y="2645"/>
                  </a:lnTo>
                  <a:lnTo>
                    <a:pt x="1122" y="2645"/>
                  </a:lnTo>
                  <a:lnTo>
                    <a:pt x="1102" y="2644"/>
                  </a:lnTo>
                  <a:lnTo>
                    <a:pt x="1084" y="2639"/>
                  </a:lnTo>
                  <a:lnTo>
                    <a:pt x="1067" y="2631"/>
                  </a:lnTo>
                  <a:lnTo>
                    <a:pt x="1051" y="2619"/>
                  </a:lnTo>
                  <a:lnTo>
                    <a:pt x="1037" y="2603"/>
                  </a:lnTo>
                  <a:lnTo>
                    <a:pt x="1027" y="2586"/>
                  </a:lnTo>
                  <a:lnTo>
                    <a:pt x="1020" y="2567"/>
                  </a:lnTo>
                  <a:lnTo>
                    <a:pt x="1018" y="2547"/>
                  </a:lnTo>
                  <a:lnTo>
                    <a:pt x="1020" y="2526"/>
                  </a:lnTo>
                  <a:lnTo>
                    <a:pt x="1026" y="2506"/>
                  </a:lnTo>
                  <a:lnTo>
                    <a:pt x="1277" y="1878"/>
                  </a:lnTo>
                  <a:lnTo>
                    <a:pt x="595" y="1878"/>
                  </a:lnTo>
                  <a:lnTo>
                    <a:pt x="530" y="1875"/>
                  </a:lnTo>
                  <a:lnTo>
                    <a:pt x="468" y="1865"/>
                  </a:lnTo>
                  <a:lnTo>
                    <a:pt x="407" y="1849"/>
                  </a:lnTo>
                  <a:lnTo>
                    <a:pt x="349" y="1825"/>
                  </a:lnTo>
                  <a:lnTo>
                    <a:pt x="295" y="1798"/>
                  </a:lnTo>
                  <a:lnTo>
                    <a:pt x="244" y="1765"/>
                  </a:lnTo>
                  <a:lnTo>
                    <a:pt x="197" y="1726"/>
                  </a:lnTo>
                  <a:lnTo>
                    <a:pt x="154" y="1683"/>
                  </a:lnTo>
                  <a:lnTo>
                    <a:pt x="115" y="1635"/>
                  </a:lnTo>
                  <a:lnTo>
                    <a:pt x="82" y="1584"/>
                  </a:lnTo>
                  <a:lnTo>
                    <a:pt x="53" y="1530"/>
                  </a:lnTo>
                  <a:lnTo>
                    <a:pt x="31" y="1473"/>
                  </a:lnTo>
                  <a:lnTo>
                    <a:pt x="14" y="1412"/>
                  </a:lnTo>
                  <a:lnTo>
                    <a:pt x="3" y="1349"/>
                  </a:lnTo>
                  <a:lnTo>
                    <a:pt x="0" y="1285"/>
                  </a:lnTo>
                  <a:lnTo>
                    <a:pt x="3" y="1221"/>
                  </a:lnTo>
                  <a:lnTo>
                    <a:pt x="13" y="1158"/>
                  </a:lnTo>
                  <a:lnTo>
                    <a:pt x="30" y="1098"/>
                  </a:lnTo>
                  <a:lnTo>
                    <a:pt x="53" y="1040"/>
                  </a:lnTo>
                  <a:lnTo>
                    <a:pt x="82" y="985"/>
                  </a:lnTo>
                  <a:lnTo>
                    <a:pt x="115" y="935"/>
                  </a:lnTo>
                  <a:lnTo>
                    <a:pt x="154" y="887"/>
                  </a:lnTo>
                  <a:lnTo>
                    <a:pt x="197" y="844"/>
                  </a:lnTo>
                  <a:lnTo>
                    <a:pt x="244" y="805"/>
                  </a:lnTo>
                  <a:lnTo>
                    <a:pt x="295" y="772"/>
                  </a:lnTo>
                  <a:lnTo>
                    <a:pt x="349" y="743"/>
                  </a:lnTo>
                  <a:lnTo>
                    <a:pt x="407" y="720"/>
                  </a:lnTo>
                  <a:lnTo>
                    <a:pt x="468" y="704"/>
                  </a:lnTo>
                  <a:lnTo>
                    <a:pt x="530" y="694"/>
                  </a:lnTo>
                  <a:lnTo>
                    <a:pt x="595" y="690"/>
                  </a:lnTo>
                  <a:lnTo>
                    <a:pt x="654" y="693"/>
                  </a:lnTo>
                  <a:lnTo>
                    <a:pt x="713" y="701"/>
                  </a:lnTo>
                  <a:lnTo>
                    <a:pt x="769" y="716"/>
                  </a:lnTo>
                  <a:lnTo>
                    <a:pt x="825" y="736"/>
                  </a:lnTo>
                  <a:lnTo>
                    <a:pt x="877" y="761"/>
                  </a:lnTo>
                  <a:lnTo>
                    <a:pt x="927" y="791"/>
                  </a:lnTo>
                  <a:lnTo>
                    <a:pt x="941" y="714"/>
                  </a:lnTo>
                  <a:lnTo>
                    <a:pt x="960" y="638"/>
                  </a:lnTo>
                  <a:lnTo>
                    <a:pt x="985" y="567"/>
                  </a:lnTo>
                  <a:lnTo>
                    <a:pt x="1017" y="497"/>
                  </a:lnTo>
                  <a:lnTo>
                    <a:pt x="1053" y="431"/>
                  </a:lnTo>
                  <a:lnTo>
                    <a:pt x="1096" y="368"/>
                  </a:lnTo>
                  <a:lnTo>
                    <a:pt x="1143" y="309"/>
                  </a:lnTo>
                  <a:lnTo>
                    <a:pt x="1195" y="254"/>
                  </a:lnTo>
                  <a:lnTo>
                    <a:pt x="1251" y="204"/>
                  </a:lnTo>
                  <a:lnTo>
                    <a:pt x="1311" y="159"/>
                  </a:lnTo>
                  <a:lnTo>
                    <a:pt x="1375" y="118"/>
                  </a:lnTo>
                  <a:lnTo>
                    <a:pt x="1443" y="84"/>
                  </a:lnTo>
                  <a:lnTo>
                    <a:pt x="1513" y="54"/>
                  </a:lnTo>
                  <a:lnTo>
                    <a:pt x="1587" y="31"/>
                  </a:lnTo>
                  <a:lnTo>
                    <a:pt x="1664" y="14"/>
                  </a:lnTo>
                  <a:lnTo>
                    <a:pt x="1742" y="3"/>
                  </a:lnTo>
                  <a:lnTo>
                    <a:pt x="18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5" name="Freeform 237"/>
            <p:cNvSpPr>
              <a:spLocks/>
            </p:cNvSpPr>
            <p:nvPr/>
          </p:nvSpPr>
          <p:spPr bwMode="auto">
            <a:xfrm>
              <a:off x="13532" y="6651"/>
              <a:ext cx="29" cy="182"/>
            </a:xfrm>
            <a:custGeom>
              <a:avLst/>
              <a:gdLst>
                <a:gd name="T0" fmla="*/ 57 w 115"/>
                <a:gd name="T1" fmla="*/ 0 h 728"/>
                <a:gd name="T2" fmla="*/ 76 w 115"/>
                <a:gd name="T3" fmla="*/ 3 h 728"/>
                <a:gd name="T4" fmla="*/ 91 w 115"/>
                <a:gd name="T5" fmla="*/ 11 h 728"/>
                <a:gd name="T6" fmla="*/ 104 w 115"/>
                <a:gd name="T7" fmla="*/ 23 h 728"/>
                <a:gd name="T8" fmla="*/ 111 w 115"/>
                <a:gd name="T9" fmla="*/ 38 h 728"/>
                <a:gd name="T10" fmla="*/ 115 w 115"/>
                <a:gd name="T11" fmla="*/ 57 h 728"/>
                <a:gd name="T12" fmla="*/ 115 w 115"/>
                <a:gd name="T13" fmla="*/ 670 h 728"/>
                <a:gd name="T14" fmla="*/ 111 w 115"/>
                <a:gd name="T15" fmla="*/ 689 h 728"/>
                <a:gd name="T16" fmla="*/ 104 w 115"/>
                <a:gd name="T17" fmla="*/ 705 h 728"/>
                <a:gd name="T18" fmla="*/ 91 w 115"/>
                <a:gd name="T19" fmla="*/ 717 h 728"/>
                <a:gd name="T20" fmla="*/ 76 w 115"/>
                <a:gd name="T21" fmla="*/ 726 h 728"/>
                <a:gd name="T22" fmla="*/ 57 w 115"/>
                <a:gd name="T23" fmla="*/ 728 h 728"/>
                <a:gd name="T24" fmla="*/ 39 w 115"/>
                <a:gd name="T25" fmla="*/ 726 h 728"/>
                <a:gd name="T26" fmla="*/ 23 w 115"/>
                <a:gd name="T27" fmla="*/ 717 h 728"/>
                <a:gd name="T28" fmla="*/ 11 w 115"/>
                <a:gd name="T29" fmla="*/ 705 h 728"/>
                <a:gd name="T30" fmla="*/ 3 w 115"/>
                <a:gd name="T31" fmla="*/ 689 h 728"/>
                <a:gd name="T32" fmla="*/ 0 w 115"/>
                <a:gd name="T33" fmla="*/ 670 h 728"/>
                <a:gd name="T34" fmla="*/ 0 w 115"/>
                <a:gd name="T35" fmla="*/ 57 h 728"/>
                <a:gd name="T36" fmla="*/ 3 w 115"/>
                <a:gd name="T37" fmla="*/ 38 h 728"/>
                <a:gd name="T38" fmla="*/ 11 w 115"/>
                <a:gd name="T39" fmla="*/ 23 h 728"/>
                <a:gd name="T40" fmla="*/ 23 w 115"/>
                <a:gd name="T41" fmla="*/ 11 h 728"/>
                <a:gd name="T42" fmla="*/ 39 w 115"/>
                <a:gd name="T43" fmla="*/ 3 h 728"/>
                <a:gd name="T44" fmla="*/ 57 w 115"/>
                <a:gd name="T45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728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1" y="38"/>
                  </a:lnTo>
                  <a:lnTo>
                    <a:pt x="115" y="57"/>
                  </a:lnTo>
                  <a:lnTo>
                    <a:pt x="115" y="670"/>
                  </a:lnTo>
                  <a:lnTo>
                    <a:pt x="111" y="689"/>
                  </a:lnTo>
                  <a:lnTo>
                    <a:pt x="104" y="705"/>
                  </a:lnTo>
                  <a:lnTo>
                    <a:pt x="91" y="717"/>
                  </a:lnTo>
                  <a:lnTo>
                    <a:pt x="76" y="726"/>
                  </a:lnTo>
                  <a:lnTo>
                    <a:pt x="57" y="728"/>
                  </a:lnTo>
                  <a:lnTo>
                    <a:pt x="39" y="726"/>
                  </a:lnTo>
                  <a:lnTo>
                    <a:pt x="23" y="717"/>
                  </a:lnTo>
                  <a:lnTo>
                    <a:pt x="11" y="705"/>
                  </a:lnTo>
                  <a:lnTo>
                    <a:pt x="3" y="689"/>
                  </a:lnTo>
                  <a:lnTo>
                    <a:pt x="0" y="670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6" name="Freeform 238"/>
            <p:cNvSpPr>
              <a:spLocks/>
            </p:cNvSpPr>
            <p:nvPr/>
          </p:nvSpPr>
          <p:spPr bwMode="auto">
            <a:xfrm>
              <a:off x="14203" y="6651"/>
              <a:ext cx="29" cy="105"/>
            </a:xfrm>
            <a:custGeom>
              <a:avLst/>
              <a:gdLst>
                <a:gd name="T0" fmla="*/ 57 w 115"/>
                <a:gd name="T1" fmla="*/ 0 h 422"/>
                <a:gd name="T2" fmla="*/ 76 w 115"/>
                <a:gd name="T3" fmla="*/ 3 h 422"/>
                <a:gd name="T4" fmla="*/ 91 w 115"/>
                <a:gd name="T5" fmla="*/ 11 h 422"/>
                <a:gd name="T6" fmla="*/ 104 w 115"/>
                <a:gd name="T7" fmla="*/ 23 h 422"/>
                <a:gd name="T8" fmla="*/ 112 w 115"/>
                <a:gd name="T9" fmla="*/ 38 h 422"/>
                <a:gd name="T10" fmla="*/ 115 w 115"/>
                <a:gd name="T11" fmla="*/ 57 h 422"/>
                <a:gd name="T12" fmla="*/ 115 w 115"/>
                <a:gd name="T13" fmla="*/ 364 h 422"/>
                <a:gd name="T14" fmla="*/ 112 w 115"/>
                <a:gd name="T15" fmla="*/ 382 h 422"/>
                <a:gd name="T16" fmla="*/ 104 w 115"/>
                <a:gd name="T17" fmla="*/ 397 h 422"/>
                <a:gd name="T18" fmla="*/ 91 w 115"/>
                <a:gd name="T19" fmla="*/ 411 h 422"/>
                <a:gd name="T20" fmla="*/ 76 w 115"/>
                <a:gd name="T21" fmla="*/ 418 h 422"/>
                <a:gd name="T22" fmla="*/ 57 w 115"/>
                <a:gd name="T23" fmla="*/ 422 h 422"/>
                <a:gd name="T24" fmla="*/ 40 w 115"/>
                <a:gd name="T25" fmla="*/ 418 h 422"/>
                <a:gd name="T26" fmla="*/ 24 w 115"/>
                <a:gd name="T27" fmla="*/ 411 h 422"/>
                <a:gd name="T28" fmla="*/ 11 w 115"/>
                <a:gd name="T29" fmla="*/ 397 h 422"/>
                <a:gd name="T30" fmla="*/ 3 w 115"/>
                <a:gd name="T31" fmla="*/ 382 h 422"/>
                <a:gd name="T32" fmla="*/ 0 w 115"/>
                <a:gd name="T33" fmla="*/ 364 h 422"/>
                <a:gd name="T34" fmla="*/ 0 w 115"/>
                <a:gd name="T35" fmla="*/ 57 h 422"/>
                <a:gd name="T36" fmla="*/ 3 w 115"/>
                <a:gd name="T37" fmla="*/ 38 h 422"/>
                <a:gd name="T38" fmla="*/ 11 w 115"/>
                <a:gd name="T39" fmla="*/ 23 h 422"/>
                <a:gd name="T40" fmla="*/ 24 w 115"/>
                <a:gd name="T41" fmla="*/ 11 h 422"/>
                <a:gd name="T42" fmla="*/ 40 w 115"/>
                <a:gd name="T43" fmla="*/ 3 h 422"/>
                <a:gd name="T44" fmla="*/ 57 w 115"/>
                <a:gd name="T45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422">
                  <a:moveTo>
                    <a:pt x="57" y="0"/>
                  </a:moveTo>
                  <a:lnTo>
                    <a:pt x="76" y="3"/>
                  </a:lnTo>
                  <a:lnTo>
                    <a:pt x="91" y="11"/>
                  </a:lnTo>
                  <a:lnTo>
                    <a:pt x="104" y="23"/>
                  </a:lnTo>
                  <a:lnTo>
                    <a:pt x="112" y="38"/>
                  </a:lnTo>
                  <a:lnTo>
                    <a:pt x="115" y="57"/>
                  </a:lnTo>
                  <a:lnTo>
                    <a:pt x="115" y="364"/>
                  </a:lnTo>
                  <a:lnTo>
                    <a:pt x="112" y="382"/>
                  </a:lnTo>
                  <a:lnTo>
                    <a:pt x="104" y="397"/>
                  </a:lnTo>
                  <a:lnTo>
                    <a:pt x="91" y="411"/>
                  </a:lnTo>
                  <a:lnTo>
                    <a:pt x="76" y="418"/>
                  </a:lnTo>
                  <a:lnTo>
                    <a:pt x="57" y="422"/>
                  </a:lnTo>
                  <a:lnTo>
                    <a:pt x="40" y="418"/>
                  </a:lnTo>
                  <a:lnTo>
                    <a:pt x="24" y="411"/>
                  </a:lnTo>
                  <a:lnTo>
                    <a:pt x="11" y="397"/>
                  </a:lnTo>
                  <a:lnTo>
                    <a:pt x="3" y="382"/>
                  </a:lnTo>
                  <a:lnTo>
                    <a:pt x="0" y="364"/>
                  </a:lnTo>
                  <a:lnTo>
                    <a:pt x="0" y="57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7" name="Freeform 239"/>
            <p:cNvSpPr>
              <a:spLocks/>
            </p:cNvSpPr>
            <p:nvPr/>
          </p:nvSpPr>
          <p:spPr bwMode="auto">
            <a:xfrm>
              <a:off x="13647" y="6861"/>
              <a:ext cx="29" cy="125"/>
            </a:xfrm>
            <a:custGeom>
              <a:avLst/>
              <a:gdLst>
                <a:gd name="T0" fmla="*/ 59 w 117"/>
                <a:gd name="T1" fmla="*/ 0 h 498"/>
                <a:gd name="T2" fmla="*/ 77 w 117"/>
                <a:gd name="T3" fmla="*/ 3 h 498"/>
                <a:gd name="T4" fmla="*/ 92 w 117"/>
                <a:gd name="T5" fmla="*/ 11 h 498"/>
                <a:gd name="T6" fmla="*/ 105 w 117"/>
                <a:gd name="T7" fmla="*/ 24 h 498"/>
                <a:gd name="T8" fmla="*/ 113 w 117"/>
                <a:gd name="T9" fmla="*/ 40 h 498"/>
                <a:gd name="T10" fmla="*/ 117 w 117"/>
                <a:gd name="T11" fmla="*/ 57 h 498"/>
                <a:gd name="T12" fmla="*/ 117 w 117"/>
                <a:gd name="T13" fmla="*/ 441 h 498"/>
                <a:gd name="T14" fmla="*/ 113 w 117"/>
                <a:gd name="T15" fmla="*/ 460 h 498"/>
                <a:gd name="T16" fmla="*/ 105 w 117"/>
                <a:gd name="T17" fmla="*/ 475 h 498"/>
                <a:gd name="T18" fmla="*/ 92 w 117"/>
                <a:gd name="T19" fmla="*/ 487 h 498"/>
                <a:gd name="T20" fmla="*/ 77 w 117"/>
                <a:gd name="T21" fmla="*/ 496 h 498"/>
                <a:gd name="T22" fmla="*/ 59 w 117"/>
                <a:gd name="T23" fmla="*/ 498 h 498"/>
                <a:gd name="T24" fmla="*/ 40 w 117"/>
                <a:gd name="T25" fmla="*/ 496 h 498"/>
                <a:gd name="T26" fmla="*/ 25 w 117"/>
                <a:gd name="T27" fmla="*/ 487 h 498"/>
                <a:gd name="T28" fmla="*/ 13 w 117"/>
                <a:gd name="T29" fmla="*/ 475 h 498"/>
                <a:gd name="T30" fmla="*/ 4 w 117"/>
                <a:gd name="T31" fmla="*/ 460 h 498"/>
                <a:gd name="T32" fmla="*/ 0 w 117"/>
                <a:gd name="T33" fmla="*/ 441 h 498"/>
                <a:gd name="T34" fmla="*/ 0 w 117"/>
                <a:gd name="T35" fmla="*/ 57 h 498"/>
                <a:gd name="T36" fmla="*/ 4 w 117"/>
                <a:gd name="T37" fmla="*/ 40 h 498"/>
                <a:gd name="T38" fmla="*/ 13 w 117"/>
                <a:gd name="T39" fmla="*/ 24 h 498"/>
                <a:gd name="T40" fmla="*/ 25 w 117"/>
                <a:gd name="T41" fmla="*/ 11 h 498"/>
                <a:gd name="T42" fmla="*/ 40 w 117"/>
                <a:gd name="T43" fmla="*/ 3 h 498"/>
                <a:gd name="T44" fmla="*/ 59 w 117"/>
                <a:gd name="T45" fmla="*/ 0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498">
                  <a:moveTo>
                    <a:pt x="59" y="0"/>
                  </a:moveTo>
                  <a:lnTo>
                    <a:pt x="77" y="3"/>
                  </a:lnTo>
                  <a:lnTo>
                    <a:pt x="92" y="11"/>
                  </a:lnTo>
                  <a:lnTo>
                    <a:pt x="105" y="24"/>
                  </a:lnTo>
                  <a:lnTo>
                    <a:pt x="113" y="40"/>
                  </a:lnTo>
                  <a:lnTo>
                    <a:pt x="117" y="57"/>
                  </a:lnTo>
                  <a:lnTo>
                    <a:pt x="117" y="441"/>
                  </a:lnTo>
                  <a:lnTo>
                    <a:pt x="113" y="460"/>
                  </a:lnTo>
                  <a:lnTo>
                    <a:pt x="105" y="475"/>
                  </a:lnTo>
                  <a:lnTo>
                    <a:pt x="92" y="487"/>
                  </a:lnTo>
                  <a:lnTo>
                    <a:pt x="77" y="496"/>
                  </a:lnTo>
                  <a:lnTo>
                    <a:pt x="59" y="498"/>
                  </a:lnTo>
                  <a:lnTo>
                    <a:pt x="40" y="496"/>
                  </a:lnTo>
                  <a:lnTo>
                    <a:pt x="25" y="487"/>
                  </a:lnTo>
                  <a:lnTo>
                    <a:pt x="13" y="475"/>
                  </a:lnTo>
                  <a:lnTo>
                    <a:pt x="4" y="460"/>
                  </a:lnTo>
                  <a:lnTo>
                    <a:pt x="0" y="441"/>
                  </a:lnTo>
                  <a:lnTo>
                    <a:pt x="0" y="57"/>
                  </a:lnTo>
                  <a:lnTo>
                    <a:pt x="4" y="40"/>
                  </a:lnTo>
                  <a:lnTo>
                    <a:pt x="13" y="24"/>
                  </a:lnTo>
                  <a:lnTo>
                    <a:pt x="25" y="11"/>
                  </a:lnTo>
                  <a:lnTo>
                    <a:pt x="40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18" name="Freeform 240"/>
            <p:cNvSpPr>
              <a:spLocks/>
            </p:cNvSpPr>
            <p:nvPr/>
          </p:nvSpPr>
          <p:spPr bwMode="auto">
            <a:xfrm>
              <a:off x="14107" y="6804"/>
              <a:ext cx="29" cy="144"/>
            </a:xfrm>
            <a:custGeom>
              <a:avLst/>
              <a:gdLst>
                <a:gd name="T0" fmla="*/ 58 w 115"/>
                <a:gd name="T1" fmla="*/ 0 h 576"/>
                <a:gd name="T2" fmla="*/ 76 w 115"/>
                <a:gd name="T3" fmla="*/ 3 h 576"/>
                <a:gd name="T4" fmla="*/ 92 w 115"/>
                <a:gd name="T5" fmla="*/ 11 h 576"/>
                <a:gd name="T6" fmla="*/ 104 w 115"/>
                <a:gd name="T7" fmla="*/ 23 h 576"/>
                <a:gd name="T8" fmla="*/ 113 w 115"/>
                <a:gd name="T9" fmla="*/ 40 h 576"/>
                <a:gd name="T10" fmla="*/ 115 w 115"/>
                <a:gd name="T11" fmla="*/ 57 h 576"/>
                <a:gd name="T12" fmla="*/ 115 w 115"/>
                <a:gd name="T13" fmla="*/ 518 h 576"/>
                <a:gd name="T14" fmla="*/ 113 w 115"/>
                <a:gd name="T15" fmla="*/ 536 h 576"/>
                <a:gd name="T16" fmla="*/ 104 w 115"/>
                <a:gd name="T17" fmla="*/ 551 h 576"/>
                <a:gd name="T18" fmla="*/ 92 w 115"/>
                <a:gd name="T19" fmla="*/ 565 h 576"/>
                <a:gd name="T20" fmla="*/ 76 w 115"/>
                <a:gd name="T21" fmla="*/ 572 h 576"/>
                <a:gd name="T22" fmla="*/ 58 w 115"/>
                <a:gd name="T23" fmla="*/ 576 h 576"/>
                <a:gd name="T24" fmla="*/ 40 w 115"/>
                <a:gd name="T25" fmla="*/ 572 h 576"/>
                <a:gd name="T26" fmla="*/ 24 w 115"/>
                <a:gd name="T27" fmla="*/ 565 h 576"/>
                <a:gd name="T28" fmla="*/ 11 w 115"/>
                <a:gd name="T29" fmla="*/ 551 h 576"/>
                <a:gd name="T30" fmla="*/ 3 w 115"/>
                <a:gd name="T31" fmla="*/ 536 h 576"/>
                <a:gd name="T32" fmla="*/ 0 w 115"/>
                <a:gd name="T33" fmla="*/ 518 h 576"/>
                <a:gd name="T34" fmla="*/ 0 w 115"/>
                <a:gd name="T35" fmla="*/ 57 h 576"/>
                <a:gd name="T36" fmla="*/ 3 w 115"/>
                <a:gd name="T37" fmla="*/ 40 h 576"/>
                <a:gd name="T38" fmla="*/ 11 w 115"/>
                <a:gd name="T39" fmla="*/ 23 h 576"/>
                <a:gd name="T40" fmla="*/ 24 w 115"/>
                <a:gd name="T41" fmla="*/ 11 h 576"/>
                <a:gd name="T42" fmla="*/ 40 w 115"/>
                <a:gd name="T43" fmla="*/ 3 h 576"/>
                <a:gd name="T44" fmla="*/ 58 w 115"/>
                <a:gd name="T4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76">
                  <a:moveTo>
                    <a:pt x="58" y="0"/>
                  </a:moveTo>
                  <a:lnTo>
                    <a:pt x="76" y="3"/>
                  </a:lnTo>
                  <a:lnTo>
                    <a:pt x="92" y="11"/>
                  </a:lnTo>
                  <a:lnTo>
                    <a:pt x="104" y="23"/>
                  </a:lnTo>
                  <a:lnTo>
                    <a:pt x="113" y="40"/>
                  </a:lnTo>
                  <a:lnTo>
                    <a:pt x="115" y="57"/>
                  </a:lnTo>
                  <a:lnTo>
                    <a:pt x="115" y="518"/>
                  </a:lnTo>
                  <a:lnTo>
                    <a:pt x="113" y="536"/>
                  </a:lnTo>
                  <a:lnTo>
                    <a:pt x="104" y="551"/>
                  </a:lnTo>
                  <a:lnTo>
                    <a:pt x="92" y="565"/>
                  </a:lnTo>
                  <a:lnTo>
                    <a:pt x="76" y="572"/>
                  </a:lnTo>
                  <a:lnTo>
                    <a:pt x="58" y="576"/>
                  </a:lnTo>
                  <a:lnTo>
                    <a:pt x="40" y="572"/>
                  </a:lnTo>
                  <a:lnTo>
                    <a:pt x="24" y="565"/>
                  </a:lnTo>
                  <a:lnTo>
                    <a:pt x="11" y="551"/>
                  </a:lnTo>
                  <a:lnTo>
                    <a:pt x="3" y="536"/>
                  </a:lnTo>
                  <a:lnTo>
                    <a:pt x="0" y="518"/>
                  </a:lnTo>
                  <a:lnTo>
                    <a:pt x="0" y="57"/>
                  </a:lnTo>
                  <a:lnTo>
                    <a:pt x="3" y="40"/>
                  </a:lnTo>
                  <a:lnTo>
                    <a:pt x="11" y="23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grpSp>
        <p:nvGrpSpPr>
          <p:cNvPr id="219" name="Group 236"/>
          <p:cNvGrpSpPr>
            <a:grpSpLocks noChangeAspect="1"/>
          </p:cNvGrpSpPr>
          <p:nvPr/>
        </p:nvGrpSpPr>
        <p:grpSpPr bwMode="auto">
          <a:xfrm>
            <a:off x="10829686" y="2881739"/>
            <a:ext cx="358548" cy="380984"/>
            <a:chOff x="13511" y="6241"/>
            <a:chExt cx="847" cy="900"/>
          </a:xfrm>
          <a:solidFill>
            <a:schemeClr val="tx1"/>
          </a:solidFill>
        </p:grpSpPr>
        <p:sp>
          <p:nvSpPr>
            <p:cNvPr id="220" name="Freeform 237"/>
            <p:cNvSpPr>
              <a:spLocks noEditPoints="1"/>
            </p:cNvSpPr>
            <p:nvPr/>
          </p:nvSpPr>
          <p:spPr bwMode="auto">
            <a:xfrm>
              <a:off x="13556" y="6908"/>
              <a:ext cx="154" cy="156"/>
            </a:xfrm>
            <a:custGeom>
              <a:avLst/>
              <a:gdLst>
                <a:gd name="T0" fmla="*/ 54 w 107"/>
                <a:gd name="T1" fmla="*/ 0 h 107"/>
                <a:gd name="T2" fmla="*/ 54 w 107"/>
                <a:gd name="T3" fmla="*/ 0 h 107"/>
                <a:gd name="T4" fmla="*/ 0 w 107"/>
                <a:gd name="T5" fmla="*/ 53 h 107"/>
                <a:gd name="T6" fmla="*/ 54 w 107"/>
                <a:gd name="T7" fmla="*/ 107 h 107"/>
                <a:gd name="T8" fmla="*/ 107 w 107"/>
                <a:gd name="T9" fmla="*/ 53 h 107"/>
                <a:gd name="T10" fmla="*/ 54 w 107"/>
                <a:gd name="T11" fmla="*/ 0 h 107"/>
                <a:gd name="T12" fmla="*/ 54 w 107"/>
                <a:gd name="T13" fmla="*/ 0 h 107"/>
                <a:gd name="T14" fmla="*/ 54 w 107"/>
                <a:gd name="T15" fmla="*/ 86 h 107"/>
                <a:gd name="T16" fmla="*/ 54 w 107"/>
                <a:gd name="T17" fmla="*/ 86 h 107"/>
                <a:gd name="T18" fmla="*/ 22 w 107"/>
                <a:gd name="T19" fmla="*/ 53 h 107"/>
                <a:gd name="T20" fmla="*/ 54 w 107"/>
                <a:gd name="T21" fmla="*/ 22 h 107"/>
                <a:gd name="T22" fmla="*/ 86 w 107"/>
                <a:gd name="T23" fmla="*/ 53 h 107"/>
                <a:gd name="T24" fmla="*/ 54 w 107"/>
                <a:gd name="T25" fmla="*/ 86 h 107"/>
                <a:gd name="T26" fmla="*/ 54 w 107"/>
                <a:gd name="T27" fmla="*/ 86 h 107"/>
                <a:gd name="T28" fmla="*/ 54 w 107"/>
                <a:gd name="T29" fmla="*/ 86 h 107"/>
                <a:gd name="T30" fmla="*/ 54 w 107"/>
                <a:gd name="T31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lnTo>
                    <a:pt x="54" y="0"/>
                  </a:lnTo>
                  <a:cubicBezTo>
                    <a:pt x="24" y="0"/>
                    <a:pt x="0" y="24"/>
                    <a:pt x="0" y="53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lnTo>
                    <a:pt x="54" y="0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ubicBezTo>
                    <a:pt x="36" y="86"/>
                    <a:pt x="22" y="71"/>
                    <a:pt x="22" y="53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3"/>
                  </a:cubicBezTo>
                  <a:cubicBezTo>
                    <a:pt x="86" y="71"/>
                    <a:pt x="71" y="86"/>
                    <a:pt x="54" y="86"/>
                  </a:cubicBezTo>
                  <a:lnTo>
                    <a:pt x="54" y="86"/>
                  </a:lnTo>
                  <a:close/>
                  <a:moveTo>
                    <a:pt x="54" y="86"/>
                  </a:moveTo>
                  <a:lnTo>
                    <a:pt x="54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  <p:sp>
          <p:nvSpPr>
            <p:cNvPr id="221" name="Freeform 238"/>
            <p:cNvSpPr>
              <a:spLocks noEditPoints="1"/>
            </p:cNvSpPr>
            <p:nvPr/>
          </p:nvSpPr>
          <p:spPr bwMode="auto">
            <a:xfrm>
              <a:off x="13511" y="6241"/>
              <a:ext cx="847" cy="900"/>
            </a:xfrm>
            <a:custGeom>
              <a:avLst/>
              <a:gdLst>
                <a:gd name="T0" fmla="*/ 586 w 586"/>
                <a:gd name="T1" fmla="*/ 373 h 618"/>
                <a:gd name="T2" fmla="*/ 575 w 586"/>
                <a:gd name="T3" fmla="*/ 288 h 618"/>
                <a:gd name="T4" fmla="*/ 369 w 586"/>
                <a:gd name="T5" fmla="*/ 234 h 618"/>
                <a:gd name="T6" fmla="*/ 378 w 586"/>
                <a:gd name="T7" fmla="*/ 78 h 618"/>
                <a:gd name="T8" fmla="*/ 301 w 586"/>
                <a:gd name="T9" fmla="*/ 0 h 618"/>
                <a:gd name="T10" fmla="*/ 216 w 586"/>
                <a:gd name="T11" fmla="*/ 217 h 618"/>
                <a:gd name="T12" fmla="*/ 170 w 586"/>
                <a:gd name="T13" fmla="*/ 234 h 618"/>
                <a:gd name="T14" fmla="*/ 0 w 586"/>
                <a:gd name="T15" fmla="*/ 213 h 618"/>
                <a:gd name="T16" fmla="*/ 170 w 586"/>
                <a:gd name="T17" fmla="*/ 618 h 618"/>
                <a:gd name="T18" fmla="*/ 469 w 586"/>
                <a:gd name="T19" fmla="*/ 597 h 618"/>
                <a:gd name="T20" fmla="*/ 511 w 586"/>
                <a:gd name="T21" fmla="*/ 511 h 618"/>
                <a:gd name="T22" fmla="*/ 543 w 586"/>
                <a:gd name="T23" fmla="*/ 425 h 618"/>
                <a:gd name="T24" fmla="*/ 586 w 586"/>
                <a:gd name="T25" fmla="*/ 373 h 618"/>
                <a:gd name="T26" fmla="*/ 21 w 586"/>
                <a:gd name="T27" fmla="*/ 234 h 618"/>
                <a:gd name="T28" fmla="*/ 149 w 586"/>
                <a:gd name="T29" fmla="*/ 597 h 618"/>
                <a:gd name="T30" fmla="*/ 21 w 586"/>
                <a:gd name="T31" fmla="*/ 234 h 618"/>
                <a:gd name="T32" fmla="*/ 533 w 586"/>
                <a:gd name="T33" fmla="*/ 405 h 618"/>
                <a:gd name="T34" fmla="*/ 405 w 586"/>
                <a:gd name="T35" fmla="*/ 415 h 618"/>
                <a:gd name="T36" fmla="*/ 501 w 586"/>
                <a:gd name="T37" fmla="*/ 426 h 618"/>
                <a:gd name="T38" fmla="*/ 501 w 586"/>
                <a:gd name="T39" fmla="*/ 490 h 618"/>
                <a:gd name="T40" fmla="*/ 384 w 586"/>
                <a:gd name="T41" fmla="*/ 501 h 618"/>
                <a:gd name="T42" fmla="*/ 469 w 586"/>
                <a:gd name="T43" fmla="*/ 511 h 618"/>
                <a:gd name="T44" fmla="*/ 469 w 586"/>
                <a:gd name="T45" fmla="*/ 575 h 618"/>
                <a:gd name="T46" fmla="*/ 170 w 586"/>
                <a:gd name="T47" fmla="*/ 255 h 618"/>
                <a:gd name="T48" fmla="*/ 230 w 586"/>
                <a:gd name="T49" fmla="*/ 233 h 618"/>
                <a:gd name="T50" fmla="*/ 301 w 586"/>
                <a:gd name="T51" fmla="*/ 21 h 618"/>
                <a:gd name="T52" fmla="*/ 357 w 586"/>
                <a:gd name="T53" fmla="*/ 82 h 618"/>
                <a:gd name="T54" fmla="*/ 343 w 586"/>
                <a:gd name="T55" fmla="*/ 255 h 618"/>
                <a:gd name="T56" fmla="*/ 554 w 586"/>
                <a:gd name="T57" fmla="*/ 288 h 618"/>
                <a:gd name="T58" fmla="*/ 415 w 586"/>
                <a:gd name="T59" fmla="*/ 320 h 618"/>
                <a:gd name="T60" fmla="*/ 415 w 586"/>
                <a:gd name="T61" fmla="*/ 341 h 618"/>
                <a:gd name="T62" fmla="*/ 531 w 586"/>
                <a:gd name="T63" fmla="*/ 343 h 618"/>
                <a:gd name="T64" fmla="*/ 533 w 586"/>
                <a:gd name="T65" fmla="*/ 405 h 618"/>
                <a:gd name="T66" fmla="*/ 533 w 586"/>
                <a:gd name="T67" fmla="*/ 40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6" h="618">
                  <a:moveTo>
                    <a:pt x="586" y="373"/>
                  </a:moveTo>
                  <a:lnTo>
                    <a:pt x="586" y="373"/>
                  </a:lnTo>
                  <a:cubicBezTo>
                    <a:pt x="586" y="346"/>
                    <a:pt x="571" y="334"/>
                    <a:pt x="557" y="328"/>
                  </a:cubicBezTo>
                  <a:cubicBezTo>
                    <a:pt x="568" y="318"/>
                    <a:pt x="575" y="304"/>
                    <a:pt x="575" y="288"/>
                  </a:cubicBezTo>
                  <a:cubicBezTo>
                    <a:pt x="575" y="258"/>
                    <a:pt x="552" y="234"/>
                    <a:pt x="522" y="234"/>
                  </a:cubicBezTo>
                  <a:lnTo>
                    <a:pt x="369" y="234"/>
                  </a:lnTo>
                  <a:lnTo>
                    <a:pt x="377" y="198"/>
                  </a:lnTo>
                  <a:cubicBezTo>
                    <a:pt x="387" y="149"/>
                    <a:pt x="380" y="94"/>
                    <a:pt x="378" y="78"/>
                  </a:cubicBezTo>
                  <a:cubicBezTo>
                    <a:pt x="372" y="41"/>
                    <a:pt x="339" y="0"/>
                    <a:pt x="304" y="0"/>
                  </a:cubicBezTo>
                  <a:lnTo>
                    <a:pt x="301" y="0"/>
                  </a:lnTo>
                  <a:cubicBezTo>
                    <a:pt x="284" y="0"/>
                    <a:pt x="255" y="9"/>
                    <a:pt x="255" y="74"/>
                  </a:cubicBezTo>
                  <a:cubicBezTo>
                    <a:pt x="255" y="160"/>
                    <a:pt x="234" y="199"/>
                    <a:pt x="216" y="217"/>
                  </a:cubicBezTo>
                  <a:cubicBezTo>
                    <a:pt x="199" y="234"/>
                    <a:pt x="182" y="234"/>
                    <a:pt x="181" y="234"/>
                  </a:cubicBezTo>
                  <a:lnTo>
                    <a:pt x="170" y="234"/>
                  </a:lnTo>
                  <a:lnTo>
                    <a:pt x="170" y="213"/>
                  </a:lnTo>
                  <a:lnTo>
                    <a:pt x="0" y="213"/>
                  </a:lnTo>
                  <a:lnTo>
                    <a:pt x="0" y="618"/>
                  </a:lnTo>
                  <a:lnTo>
                    <a:pt x="170" y="618"/>
                  </a:lnTo>
                  <a:lnTo>
                    <a:pt x="170" y="597"/>
                  </a:lnTo>
                  <a:lnTo>
                    <a:pt x="469" y="597"/>
                  </a:lnTo>
                  <a:cubicBezTo>
                    <a:pt x="498" y="597"/>
                    <a:pt x="522" y="573"/>
                    <a:pt x="522" y="544"/>
                  </a:cubicBezTo>
                  <a:cubicBezTo>
                    <a:pt x="522" y="531"/>
                    <a:pt x="518" y="520"/>
                    <a:pt x="511" y="511"/>
                  </a:cubicBezTo>
                  <a:cubicBezTo>
                    <a:pt x="535" y="506"/>
                    <a:pt x="554" y="484"/>
                    <a:pt x="554" y="458"/>
                  </a:cubicBezTo>
                  <a:cubicBezTo>
                    <a:pt x="554" y="446"/>
                    <a:pt x="550" y="434"/>
                    <a:pt x="543" y="425"/>
                  </a:cubicBezTo>
                  <a:cubicBezTo>
                    <a:pt x="567" y="421"/>
                    <a:pt x="586" y="399"/>
                    <a:pt x="586" y="373"/>
                  </a:cubicBezTo>
                  <a:lnTo>
                    <a:pt x="586" y="373"/>
                  </a:lnTo>
                  <a:close/>
                  <a:moveTo>
                    <a:pt x="21" y="234"/>
                  </a:moveTo>
                  <a:lnTo>
                    <a:pt x="21" y="234"/>
                  </a:lnTo>
                  <a:lnTo>
                    <a:pt x="149" y="234"/>
                  </a:lnTo>
                  <a:lnTo>
                    <a:pt x="149" y="597"/>
                  </a:lnTo>
                  <a:lnTo>
                    <a:pt x="21" y="597"/>
                  </a:lnTo>
                  <a:lnTo>
                    <a:pt x="21" y="234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lnTo>
                    <a:pt x="415" y="405"/>
                  </a:lnTo>
                  <a:cubicBezTo>
                    <a:pt x="410" y="405"/>
                    <a:pt x="405" y="410"/>
                    <a:pt x="405" y="415"/>
                  </a:cubicBezTo>
                  <a:cubicBezTo>
                    <a:pt x="405" y="421"/>
                    <a:pt x="410" y="426"/>
                    <a:pt x="415" y="426"/>
                  </a:cubicBezTo>
                  <a:lnTo>
                    <a:pt x="501" y="426"/>
                  </a:lnTo>
                  <a:cubicBezTo>
                    <a:pt x="518" y="426"/>
                    <a:pt x="533" y="441"/>
                    <a:pt x="533" y="458"/>
                  </a:cubicBezTo>
                  <a:cubicBezTo>
                    <a:pt x="533" y="476"/>
                    <a:pt x="518" y="490"/>
                    <a:pt x="501" y="490"/>
                  </a:cubicBezTo>
                  <a:lnTo>
                    <a:pt x="394" y="490"/>
                  </a:lnTo>
                  <a:cubicBezTo>
                    <a:pt x="388" y="490"/>
                    <a:pt x="384" y="495"/>
                    <a:pt x="384" y="501"/>
                  </a:cubicBezTo>
                  <a:cubicBezTo>
                    <a:pt x="384" y="507"/>
                    <a:pt x="388" y="511"/>
                    <a:pt x="394" y="511"/>
                  </a:cubicBezTo>
                  <a:lnTo>
                    <a:pt x="469" y="511"/>
                  </a:lnTo>
                  <a:cubicBezTo>
                    <a:pt x="486" y="511"/>
                    <a:pt x="501" y="526"/>
                    <a:pt x="501" y="544"/>
                  </a:cubicBezTo>
                  <a:cubicBezTo>
                    <a:pt x="501" y="561"/>
                    <a:pt x="486" y="575"/>
                    <a:pt x="469" y="575"/>
                  </a:cubicBezTo>
                  <a:lnTo>
                    <a:pt x="170" y="575"/>
                  </a:lnTo>
                  <a:lnTo>
                    <a:pt x="170" y="255"/>
                  </a:lnTo>
                  <a:lnTo>
                    <a:pt x="180" y="255"/>
                  </a:lnTo>
                  <a:cubicBezTo>
                    <a:pt x="182" y="256"/>
                    <a:pt x="206" y="256"/>
                    <a:pt x="230" y="233"/>
                  </a:cubicBezTo>
                  <a:cubicBezTo>
                    <a:pt x="261" y="203"/>
                    <a:pt x="277" y="150"/>
                    <a:pt x="277" y="74"/>
                  </a:cubicBezTo>
                  <a:cubicBezTo>
                    <a:pt x="277" y="54"/>
                    <a:pt x="280" y="21"/>
                    <a:pt x="301" y="21"/>
                  </a:cubicBezTo>
                  <a:lnTo>
                    <a:pt x="304" y="21"/>
                  </a:lnTo>
                  <a:cubicBezTo>
                    <a:pt x="327" y="21"/>
                    <a:pt x="353" y="54"/>
                    <a:pt x="357" y="82"/>
                  </a:cubicBezTo>
                  <a:cubicBezTo>
                    <a:pt x="359" y="96"/>
                    <a:pt x="365" y="148"/>
                    <a:pt x="356" y="193"/>
                  </a:cubicBezTo>
                  <a:lnTo>
                    <a:pt x="343" y="255"/>
                  </a:lnTo>
                  <a:lnTo>
                    <a:pt x="522" y="255"/>
                  </a:lnTo>
                  <a:cubicBezTo>
                    <a:pt x="540" y="255"/>
                    <a:pt x="554" y="270"/>
                    <a:pt x="554" y="288"/>
                  </a:cubicBezTo>
                  <a:cubicBezTo>
                    <a:pt x="554" y="305"/>
                    <a:pt x="540" y="320"/>
                    <a:pt x="522" y="320"/>
                  </a:cubicBezTo>
                  <a:lnTo>
                    <a:pt x="415" y="320"/>
                  </a:lnTo>
                  <a:cubicBezTo>
                    <a:pt x="410" y="320"/>
                    <a:pt x="405" y="324"/>
                    <a:pt x="405" y="330"/>
                  </a:cubicBezTo>
                  <a:cubicBezTo>
                    <a:pt x="405" y="336"/>
                    <a:pt x="410" y="341"/>
                    <a:pt x="415" y="341"/>
                  </a:cubicBezTo>
                  <a:lnTo>
                    <a:pt x="490" y="341"/>
                  </a:lnTo>
                  <a:cubicBezTo>
                    <a:pt x="500" y="341"/>
                    <a:pt x="520" y="341"/>
                    <a:pt x="531" y="343"/>
                  </a:cubicBezTo>
                  <a:cubicBezTo>
                    <a:pt x="559" y="347"/>
                    <a:pt x="565" y="358"/>
                    <a:pt x="565" y="373"/>
                  </a:cubicBezTo>
                  <a:cubicBezTo>
                    <a:pt x="565" y="390"/>
                    <a:pt x="550" y="405"/>
                    <a:pt x="533" y="405"/>
                  </a:cubicBezTo>
                  <a:lnTo>
                    <a:pt x="533" y="405"/>
                  </a:lnTo>
                  <a:close/>
                  <a:moveTo>
                    <a:pt x="533" y="405"/>
                  </a:moveTo>
                  <a:lnTo>
                    <a:pt x="533" y="4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6770" tIns="48385" rIns="96770" bIns="48385" numCol="1" anchor="t" anchorCtr="0" compatLnSpc="1">
              <a:prstTxWarp prst="textNoShape">
                <a:avLst/>
              </a:prstTxWarp>
            </a:bodyPr>
            <a:lstStyle/>
            <a:p>
              <a:endParaRPr lang="ru-RU" sz="1905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784830"/>
          </a:xfrm>
        </p:spPr>
        <p:txBody>
          <a:bodyPr/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 CVA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обладает значительными преимуществами по сравнению с </a:t>
            </a:r>
            <a:r>
              <a:rPr lang="en-US" sz="25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Numerix</a:t>
            </a:r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CVA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альтернативами</a:t>
            </a:r>
            <a:endParaRPr lang="ru-RU" sz="2500" dirty="0"/>
          </a:p>
        </p:txBody>
      </p:sp>
    </p:spTree>
    <p:extLst>
      <p:ext uri="{BB962C8B-B14F-4D97-AF65-F5344CB8AC3E}">
        <p14:creationId xmlns:p14="http://schemas.microsoft.com/office/powerpoint/2010/main" val="6672837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73706" y="1346288"/>
            <a:ext cx="7190815" cy="10310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крываем 99.9% текущего портфеля по типологиям и по риску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lvl="1"/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99</a:t>
            </a:r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% 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крыты </a:t>
            </a:r>
            <a:r>
              <a:rPr lang="ru-RU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тивно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lvl="1"/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0.9% через репликацию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3706" y="2996798"/>
            <a:ext cx="4212628" cy="13080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спользуем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utting-edge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ехнологии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</a:p>
          <a:p>
            <a:pPr lvl="1"/>
            <a:r>
              <a:rPr lang="en-US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endParaRPr lang="ru-RU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lvl="1"/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екторные вычисления</a:t>
            </a:r>
          </a:p>
          <a:p>
            <a:pPr lvl="1"/>
            <a:r>
              <a:rPr lang="ru-RU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араллелизация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ычислений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73706" y="4647308"/>
            <a:ext cx="67891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ибкий 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PI:</a:t>
            </a:r>
            <a:endParaRPr lang="ru-RU" sz="20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lvl="1">
              <a:spcAft>
                <a:spcPts val="600"/>
              </a:spcAft>
            </a:pP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латформа как конструктор: легкость </a:t>
            </a:r>
            <a:r>
              <a:rPr lang="ru-RU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тотипирования</a:t>
            </a:r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и репликации для поддержки новых продуктов</a:t>
            </a:r>
          </a:p>
          <a:p>
            <a:pPr lvl="1"/>
            <a:r>
              <a:rPr lang="ru-RU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Эффективное взаимодействие с платформой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 CVA: бесшовный переход от </a:t>
            </a:r>
            <a:r>
              <a:rPr lang="ru-RU" sz="25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ендора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к </a:t>
            </a:r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n-house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шению</a:t>
            </a:r>
            <a:endParaRPr lang="ru-RU" sz="2500" dirty="0"/>
          </a:p>
        </p:txBody>
      </p:sp>
      <p:sp>
        <p:nvSpPr>
          <p:cNvPr id="3" name="Rectangle 2"/>
          <p:cNvSpPr/>
          <p:nvPr/>
        </p:nvSpPr>
        <p:spPr>
          <a:xfrm>
            <a:off x="8408666" y="1134850"/>
            <a:ext cx="31870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ртфель на 1</a:t>
            </a:r>
            <a:r>
              <a:rPr lang="en-US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9</a:t>
            </a:r>
            <a:r>
              <a:rPr lang="ru-RU" sz="20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.10.2022</a:t>
            </a:r>
            <a:endParaRPr lang="ru-RU" sz="2000" dirty="0"/>
          </a:p>
        </p:txBody>
      </p:sp>
      <p:sp>
        <p:nvSpPr>
          <p:cNvPr id="4" name="Rounded Rectangle 3"/>
          <p:cNvSpPr/>
          <p:nvPr/>
        </p:nvSpPr>
        <p:spPr>
          <a:xfrm>
            <a:off x="3809057" y="2141503"/>
            <a:ext cx="3755464" cy="811819"/>
          </a:xfrm>
          <a:prstGeom prst="roundRect">
            <a:avLst/>
          </a:prstGeom>
          <a:noFill/>
          <a:ln w="12700" cap="flat" cmpd="sng" algn="ctr">
            <a:solidFill>
              <a:schemeClr val="bg2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 swap = 2 FX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wds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ctr"/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loat-Float IRS = 2 Float-Fixed IRS</a:t>
            </a:r>
          </a:p>
          <a:p>
            <a:pPr algn="ctr"/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n-The-Money Commodity Swap = simple cash flow</a:t>
            </a:r>
            <a:endParaRPr lang="ru-RU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509446" y="3466922"/>
            <a:ext cx="2055075" cy="666786"/>
          </a:xfrm>
          <a:prstGeom prst="roundRect">
            <a:avLst/>
          </a:prstGeom>
          <a:noFill/>
          <a:ln w="12700" cap="flat" cmpd="sng" algn="ctr">
            <a:solidFill>
              <a:schemeClr val="bg2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ремя расчета снизилось с </a:t>
            </a:r>
            <a:r>
              <a:rPr lang="en-US" sz="140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9-</a:t>
            </a:r>
            <a:r>
              <a:rPr lang="ru-RU" sz="140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10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часов до 15 минут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3382749"/>
              </p:ext>
            </p:extLst>
          </p:nvPr>
        </p:nvGraphicFramePr>
        <p:xfrm>
          <a:off x="8169466" y="1579638"/>
          <a:ext cx="3662315" cy="4851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38988">
                  <a:extLst>
                    <a:ext uri="{9D8B030D-6E8A-4147-A177-3AD203B41FA5}">
                      <a16:colId xmlns:a16="http://schemas.microsoft.com/office/drawing/2014/main" val="2449283602"/>
                    </a:ext>
                  </a:extLst>
                </a:gridCol>
                <a:gridCol w="1105728">
                  <a:extLst>
                    <a:ext uri="{9D8B030D-6E8A-4147-A177-3AD203B41FA5}">
                      <a16:colId xmlns:a16="http://schemas.microsoft.com/office/drawing/2014/main" val="430989856"/>
                    </a:ext>
                  </a:extLst>
                </a:gridCol>
                <a:gridCol w="1117599">
                  <a:extLst>
                    <a:ext uri="{9D8B030D-6E8A-4147-A177-3AD203B41FA5}">
                      <a16:colId xmlns:a16="http://schemas.microsoft.com/office/drawing/2014/main" val="3545905416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Residual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Ne</a:t>
                      </a:r>
                      <a:r>
                        <a:rPr lang="en-US" sz="1400" b="1" kern="1200" baseline="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w business</a:t>
                      </a:r>
                      <a:endParaRPr lang="en-US" sz="1400" b="1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65783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BCVA, </a:t>
                      </a:r>
                      <a:r>
                        <a:rPr lang="en-US" sz="1400" b="1" kern="1200" dirty="0" err="1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mln</a:t>
                      </a:r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 USD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29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4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680660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FX delta, </a:t>
                      </a:r>
                      <a:r>
                        <a:rPr lang="en-US" sz="1400" b="1" kern="1200" dirty="0" err="1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mln</a:t>
                      </a:r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 USD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50192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RUB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37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11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51085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NH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1</a:t>
                      </a:r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5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15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2449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EUR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6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0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22194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HF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2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</a:t>
                      </a:r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282834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DV01, </a:t>
                      </a:r>
                      <a:r>
                        <a:rPr lang="en-US" sz="1400" b="1" kern="1200" dirty="0" err="1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kUSD</a:t>
                      </a:r>
                      <a:endParaRPr lang="en-US" sz="1400" b="1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23647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RUB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38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6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7585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USD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2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0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788109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NH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5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5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709394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Rates </a:t>
                      </a:r>
                      <a:r>
                        <a:rPr lang="en-US" sz="1400" b="1" kern="1200" dirty="0" err="1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vega</a:t>
                      </a:r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, </a:t>
                      </a:r>
                      <a:r>
                        <a:rPr lang="en-US" sz="1400" b="1" kern="1200" dirty="0" err="1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kUSD</a:t>
                      </a:r>
                      <a:endParaRPr lang="en-US" sz="1400" b="1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03883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RUB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73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1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849499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1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CS01, </a:t>
                      </a:r>
                      <a:r>
                        <a:rPr lang="en-US" sz="1400" b="1" kern="1200" dirty="0" err="1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kUSD</a:t>
                      </a:r>
                      <a:endParaRPr lang="en-US" sz="1400" b="1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5698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Russia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83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47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828991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Sber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63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21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38809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Kazakhstan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9   </a:t>
                      </a: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kern="1200" dirty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latin typeface="SB Sans Display Light" panose="020B0303040504020204" pitchFamily="34" charset="0"/>
                          <a:ea typeface="+mn-ea"/>
                          <a:cs typeface="SB Sans Display Light" panose="020B0303040504020204" pitchFamily="34" charset="0"/>
                        </a:rPr>
                        <a:t>-</a:t>
                      </a:r>
                      <a:endParaRPr lang="ru-RU" sz="1400" kern="1200" dirty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latin typeface="SB Sans Display Light" panose="020B0303040504020204" pitchFamily="34" charset="0"/>
                        <a:ea typeface="+mn-ea"/>
                        <a:cs typeface="SB Sans Display Light" panose="020B0303040504020204" pitchFamily="34" charset="0"/>
                      </a:endParaRPr>
                    </a:p>
                  </a:txBody>
                  <a:tcPr marL="9525" marR="9525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0118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71876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E2C412-4137-EE4D-9B3D-E89D96D8B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нализ таблицы состояния </a:t>
            </a:r>
            <a:r>
              <a:rPr lang="en-US" dirty="0"/>
              <a:t>CVA-</a:t>
            </a:r>
            <a:r>
              <a:rPr lang="ru-RU" dirty="0"/>
              <a:t>портфел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4332F1-DBFC-454B-B8CF-7D617B8C0464}"/>
              </a:ext>
            </a:extLst>
          </p:cNvPr>
          <p:cNvSpPr txBox="1"/>
          <p:nvPr/>
        </p:nvSpPr>
        <p:spPr>
          <a:xfrm>
            <a:off x="442913" y="1099751"/>
            <a:ext cx="11123011" cy="52629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1) </a:t>
            </a:r>
            <a:r>
              <a:rPr lang="ru-RU" dirty="0">
                <a:solidFill>
                  <a:schemeClr val="tx2"/>
                </a:solidFill>
              </a:rPr>
              <a:t>Смотрим на старую книжку</a:t>
            </a:r>
            <a:r>
              <a:rPr lang="en-US" dirty="0">
                <a:solidFill>
                  <a:schemeClr val="tx2"/>
                </a:solidFill>
              </a:rPr>
              <a:t>; </a:t>
            </a:r>
            <a:r>
              <a:rPr lang="ru-RU" dirty="0">
                <a:solidFill>
                  <a:schemeClr val="tx2"/>
                </a:solidFill>
              </a:rPr>
              <a:t>Мы видим </a:t>
            </a:r>
            <a:r>
              <a:rPr lang="ru-RU" dirty="0" err="1">
                <a:solidFill>
                  <a:schemeClr val="tx2"/>
                </a:solidFill>
              </a:rPr>
              <a:t>вегу</a:t>
            </a:r>
            <a:r>
              <a:rPr lang="ru-RU" dirty="0">
                <a:solidFill>
                  <a:schemeClr val="tx2"/>
                </a:solidFill>
              </a:rPr>
              <a:t> по рублю (-73)</a:t>
            </a:r>
            <a:r>
              <a:rPr lang="en-US" dirty="0">
                <a:solidFill>
                  <a:schemeClr val="tx2"/>
                </a:solidFill>
              </a:rPr>
              <a:t>; </a:t>
            </a:r>
            <a:r>
              <a:rPr lang="ru-RU" dirty="0">
                <a:solidFill>
                  <a:schemeClr val="tx2"/>
                </a:solidFill>
              </a:rPr>
              <a:t>она проистекает из купленных клиентом </a:t>
            </a:r>
            <a:r>
              <a:rPr lang="ru-RU" dirty="0" err="1">
                <a:solidFill>
                  <a:schemeClr val="tx2"/>
                </a:solidFill>
              </a:rPr>
              <a:t>кэпов</a:t>
            </a:r>
            <a:r>
              <a:rPr lang="ru-RU" dirty="0">
                <a:solidFill>
                  <a:schemeClr val="tx2"/>
                </a:solidFill>
              </a:rPr>
              <a:t>-флоров на </a:t>
            </a:r>
            <a:r>
              <a:rPr lang="en-US" dirty="0">
                <a:solidFill>
                  <a:schemeClr val="tx2"/>
                </a:solidFill>
              </a:rPr>
              <a:t>RUB_KEY_RATE (</a:t>
            </a:r>
            <a:r>
              <a:rPr lang="ru-RU" dirty="0">
                <a:solidFill>
                  <a:schemeClr val="tx2"/>
                </a:solidFill>
              </a:rPr>
              <a:t>Искандер их называет опционами)</a:t>
            </a:r>
            <a:r>
              <a:rPr lang="en-US" dirty="0">
                <a:solidFill>
                  <a:schemeClr val="tx2"/>
                </a:solidFill>
              </a:rPr>
              <a:t>;</a:t>
            </a:r>
            <a:r>
              <a:rPr lang="ru-RU" dirty="0">
                <a:solidFill>
                  <a:schemeClr val="tx2"/>
                </a:solidFill>
              </a:rPr>
              <a:t> А точнее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это </a:t>
            </a:r>
            <a:r>
              <a:rPr lang="ru-RU" dirty="0" err="1">
                <a:solidFill>
                  <a:schemeClr val="tx2"/>
                </a:solidFill>
              </a:rPr>
              <a:t>коллары</a:t>
            </a:r>
            <a:r>
              <a:rPr lang="ru-RU" dirty="0">
                <a:solidFill>
                  <a:schemeClr val="tx2"/>
                </a:solidFill>
              </a:rPr>
              <a:t> – то есть купленный </a:t>
            </a:r>
            <a:r>
              <a:rPr lang="ru-RU" dirty="0" err="1">
                <a:solidFill>
                  <a:schemeClr val="tx2"/>
                </a:solidFill>
              </a:rPr>
              <a:t>колл</a:t>
            </a:r>
            <a:r>
              <a:rPr lang="ru-RU" dirty="0">
                <a:solidFill>
                  <a:schemeClr val="tx2"/>
                </a:solidFill>
              </a:rPr>
              <a:t> и проданный пут</a:t>
            </a:r>
            <a:r>
              <a:rPr lang="en-US" dirty="0">
                <a:solidFill>
                  <a:schemeClr val="tx2"/>
                </a:solidFill>
              </a:rPr>
              <a:t>; </a:t>
            </a:r>
          </a:p>
          <a:p>
            <a:r>
              <a:rPr lang="en-US" dirty="0">
                <a:solidFill>
                  <a:schemeClr val="tx2"/>
                </a:solidFill>
              </a:rPr>
              <a:t>2) </a:t>
            </a:r>
            <a:r>
              <a:rPr lang="ru-RU" dirty="0">
                <a:solidFill>
                  <a:schemeClr val="tx2"/>
                </a:solidFill>
              </a:rPr>
              <a:t>Вега отрицательная – это значит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что </a:t>
            </a:r>
            <a:r>
              <a:rPr lang="ru-RU" dirty="0" err="1">
                <a:solidFill>
                  <a:schemeClr val="tx2"/>
                </a:solidFill>
              </a:rPr>
              <a:t>кэпы</a:t>
            </a:r>
            <a:r>
              <a:rPr lang="ru-RU" dirty="0">
                <a:solidFill>
                  <a:schemeClr val="tx2"/>
                </a:solidFill>
              </a:rPr>
              <a:t> стали не в деньгах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и их как бы нет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а отрицательность </a:t>
            </a:r>
            <a:r>
              <a:rPr lang="ru-RU" dirty="0" err="1">
                <a:solidFill>
                  <a:schemeClr val="tx2"/>
                </a:solidFill>
              </a:rPr>
              <a:t>веги</a:t>
            </a:r>
            <a:r>
              <a:rPr lang="ru-RU" dirty="0">
                <a:solidFill>
                  <a:schemeClr val="tx2"/>
                </a:solidFill>
              </a:rPr>
              <a:t> проистекает от флоров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которые в деньгах (потому что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у </a:t>
            </a:r>
            <a:r>
              <a:rPr lang="ru-RU" b="1" dirty="0">
                <a:solidFill>
                  <a:schemeClr val="tx2"/>
                </a:solidFill>
              </a:rPr>
              <a:t>купленного</a:t>
            </a:r>
            <a:r>
              <a:rPr lang="ru-RU" dirty="0">
                <a:solidFill>
                  <a:schemeClr val="tx2"/>
                </a:solidFill>
              </a:rPr>
              <a:t> опциона-</a:t>
            </a:r>
            <a:r>
              <a:rPr lang="ru-RU" dirty="0" err="1">
                <a:solidFill>
                  <a:schemeClr val="tx2"/>
                </a:solidFill>
              </a:rPr>
              <a:t>колл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вега</a:t>
            </a:r>
            <a:r>
              <a:rPr lang="ru-RU" dirty="0">
                <a:solidFill>
                  <a:schemeClr val="tx2"/>
                </a:solidFill>
              </a:rPr>
              <a:t> положительная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а у </a:t>
            </a:r>
            <a:r>
              <a:rPr lang="ru-RU" b="1" dirty="0">
                <a:solidFill>
                  <a:schemeClr val="tx2"/>
                </a:solidFill>
              </a:rPr>
              <a:t>проданного </a:t>
            </a:r>
            <a:r>
              <a:rPr lang="ru-RU" dirty="0">
                <a:solidFill>
                  <a:schemeClr val="tx2"/>
                </a:solidFill>
              </a:rPr>
              <a:t> опциона-пут – </a:t>
            </a:r>
            <a:r>
              <a:rPr lang="ru-RU" dirty="0" err="1">
                <a:solidFill>
                  <a:schemeClr val="tx2"/>
                </a:solidFill>
              </a:rPr>
              <a:t>вега</a:t>
            </a:r>
            <a:r>
              <a:rPr lang="ru-RU" dirty="0">
                <a:solidFill>
                  <a:schemeClr val="tx2"/>
                </a:solidFill>
              </a:rPr>
              <a:t> отрицательная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и раз </a:t>
            </a:r>
            <a:r>
              <a:rPr lang="ru-RU" dirty="0" err="1">
                <a:solidFill>
                  <a:schemeClr val="tx2"/>
                </a:solidFill>
              </a:rPr>
              <a:t>вега</a:t>
            </a:r>
            <a:r>
              <a:rPr lang="ru-RU" dirty="0">
                <a:solidFill>
                  <a:schemeClr val="tx2"/>
                </a:solidFill>
              </a:rPr>
              <a:t> в таблице отрицательная – она проистекает из флоров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которые в деньгах</a:t>
            </a:r>
            <a:r>
              <a:rPr lang="en-US" dirty="0">
                <a:solidFill>
                  <a:schemeClr val="tx2"/>
                </a:solidFill>
              </a:rPr>
              <a:t>)</a:t>
            </a:r>
            <a:endParaRPr lang="ru-RU" dirty="0">
              <a:solidFill>
                <a:schemeClr val="tx2"/>
              </a:solidFill>
            </a:endParaRPr>
          </a:p>
          <a:p>
            <a:r>
              <a:rPr lang="ru-RU" dirty="0">
                <a:solidFill>
                  <a:schemeClr val="tx2"/>
                </a:solidFill>
              </a:rPr>
              <a:t>3) Смотрим на старую книжку на </a:t>
            </a:r>
            <a:r>
              <a:rPr lang="en-US" dirty="0">
                <a:solidFill>
                  <a:schemeClr val="tx2"/>
                </a:solidFill>
              </a:rPr>
              <a:t>DV01; </a:t>
            </a:r>
            <a:r>
              <a:rPr lang="ru-RU" dirty="0">
                <a:solidFill>
                  <a:schemeClr val="tx2"/>
                </a:solidFill>
              </a:rPr>
              <a:t>Видим там положительную </a:t>
            </a:r>
            <a:r>
              <a:rPr lang="en-US" dirty="0">
                <a:solidFill>
                  <a:schemeClr val="tx2"/>
                </a:solidFill>
              </a:rPr>
              <a:t>DV01 RUB</a:t>
            </a:r>
            <a:r>
              <a:rPr lang="ru-RU" dirty="0">
                <a:solidFill>
                  <a:schemeClr val="tx2"/>
                </a:solidFill>
              </a:rPr>
              <a:t> (38)</a:t>
            </a:r>
            <a:r>
              <a:rPr lang="en-US" dirty="0">
                <a:solidFill>
                  <a:schemeClr val="tx2"/>
                </a:solidFill>
              </a:rPr>
              <a:t>; </a:t>
            </a:r>
            <a:r>
              <a:rPr lang="ru-RU" dirty="0">
                <a:solidFill>
                  <a:schemeClr val="tx2"/>
                </a:solidFill>
              </a:rPr>
              <a:t>Она положительная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значит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клиент платит рубль (и получает </a:t>
            </a:r>
            <a:r>
              <a:rPr lang="en-US" dirty="0">
                <a:solidFill>
                  <a:schemeClr val="tx2"/>
                </a:solidFill>
              </a:rPr>
              <a:t>CNH, VNEKB, </a:t>
            </a:r>
            <a:r>
              <a:rPr lang="ru-RU" dirty="0">
                <a:solidFill>
                  <a:schemeClr val="tx2"/>
                </a:solidFill>
              </a:rPr>
              <a:t>например</a:t>
            </a:r>
            <a:r>
              <a:rPr lang="en-US" dirty="0">
                <a:solidFill>
                  <a:schemeClr val="tx2"/>
                </a:solidFill>
              </a:rPr>
              <a:t>); </a:t>
            </a:r>
            <a:r>
              <a:rPr lang="ru-RU" dirty="0">
                <a:solidFill>
                  <a:schemeClr val="tx2"/>
                </a:solidFill>
              </a:rPr>
              <a:t>О том же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что что клиент платит </a:t>
            </a:r>
            <a:r>
              <a:rPr lang="en-US" dirty="0">
                <a:solidFill>
                  <a:schemeClr val="tx2"/>
                </a:solidFill>
              </a:rPr>
              <a:t>RUB, </a:t>
            </a:r>
            <a:r>
              <a:rPr lang="ru-RU" dirty="0">
                <a:solidFill>
                  <a:schemeClr val="tx2"/>
                </a:solidFill>
              </a:rPr>
              <a:t>свидетельствует и отрицательная дельта по </a:t>
            </a:r>
            <a:r>
              <a:rPr lang="en-US" dirty="0">
                <a:solidFill>
                  <a:schemeClr val="tx2"/>
                </a:solidFill>
              </a:rPr>
              <a:t>RUB</a:t>
            </a:r>
            <a:r>
              <a:rPr lang="ru-RU" dirty="0">
                <a:solidFill>
                  <a:schemeClr val="tx2"/>
                </a:solidFill>
              </a:rPr>
              <a:t> (-37) по старой книге</a:t>
            </a:r>
            <a:r>
              <a:rPr lang="en-US" dirty="0">
                <a:solidFill>
                  <a:schemeClr val="tx2"/>
                </a:solidFill>
              </a:rPr>
              <a:t>;</a:t>
            </a:r>
          </a:p>
          <a:p>
            <a:r>
              <a:rPr lang="ru-RU" dirty="0">
                <a:solidFill>
                  <a:schemeClr val="tx2"/>
                </a:solidFill>
              </a:rPr>
              <a:t>4) Теперь смотрим на новую книгу</a:t>
            </a:r>
            <a:r>
              <a:rPr lang="en-US" dirty="0">
                <a:solidFill>
                  <a:schemeClr val="tx2"/>
                </a:solidFill>
              </a:rPr>
              <a:t>; </a:t>
            </a:r>
            <a:r>
              <a:rPr lang="ru-RU" dirty="0">
                <a:solidFill>
                  <a:schemeClr val="tx2"/>
                </a:solidFill>
              </a:rPr>
              <a:t>мы видим отрицательную </a:t>
            </a:r>
            <a:r>
              <a:rPr lang="ru-RU" dirty="0" err="1">
                <a:solidFill>
                  <a:schemeClr val="tx2"/>
                </a:solidFill>
              </a:rPr>
              <a:t>вегу</a:t>
            </a:r>
            <a:r>
              <a:rPr lang="ru-RU" dirty="0">
                <a:solidFill>
                  <a:schemeClr val="tx2"/>
                </a:solidFill>
              </a:rPr>
              <a:t> (-1)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и по аналогии со старой книгой (у которой </a:t>
            </a:r>
            <a:r>
              <a:rPr lang="ru-RU" dirty="0" err="1">
                <a:solidFill>
                  <a:schemeClr val="tx2"/>
                </a:solidFill>
              </a:rPr>
              <a:t>вега</a:t>
            </a:r>
            <a:r>
              <a:rPr lang="ru-RU" dirty="0">
                <a:solidFill>
                  <a:schemeClr val="tx2"/>
                </a:solidFill>
              </a:rPr>
              <a:t> отрицательная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а </a:t>
            </a:r>
            <a:r>
              <a:rPr lang="en-US" dirty="0">
                <a:solidFill>
                  <a:schemeClr val="tx2"/>
                </a:solidFill>
              </a:rPr>
              <a:t>DV01 </a:t>
            </a:r>
            <a:r>
              <a:rPr lang="ru-RU" dirty="0">
                <a:solidFill>
                  <a:schemeClr val="tx2"/>
                </a:solidFill>
              </a:rPr>
              <a:t>положительная</a:t>
            </a:r>
            <a:r>
              <a:rPr lang="en-US" dirty="0">
                <a:solidFill>
                  <a:schemeClr val="tx2"/>
                </a:solidFill>
              </a:rPr>
              <a:t>), </a:t>
            </a:r>
            <a:r>
              <a:rPr lang="ru-RU" dirty="0">
                <a:solidFill>
                  <a:schemeClr val="tx2"/>
                </a:solidFill>
              </a:rPr>
              <a:t>раз у нас по новой книге </a:t>
            </a:r>
            <a:r>
              <a:rPr lang="ru-RU" dirty="0" err="1">
                <a:solidFill>
                  <a:schemeClr val="tx2"/>
                </a:solidFill>
              </a:rPr>
              <a:t>вега</a:t>
            </a:r>
            <a:r>
              <a:rPr lang="ru-RU" dirty="0">
                <a:solidFill>
                  <a:schemeClr val="tx2"/>
                </a:solidFill>
              </a:rPr>
              <a:t> тоже отрицательная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то и </a:t>
            </a:r>
            <a:r>
              <a:rPr lang="en-US" dirty="0">
                <a:solidFill>
                  <a:schemeClr val="tx2"/>
                </a:solidFill>
              </a:rPr>
              <a:t>DV01 </a:t>
            </a:r>
            <a:r>
              <a:rPr lang="ru-RU" dirty="0">
                <a:solidFill>
                  <a:schemeClr val="tx2"/>
                </a:solidFill>
              </a:rPr>
              <a:t>Искандер ждал положительную</a:t>
            </a:r>
            <a:r>
              <a:rPr lang="en-US" dirty="0">
                <a:solidFill>
                  <a:schemeClr val="tx2"/>
                </a:solidFill>
              </a:rPr>
              <a:t>,  </a:t>
            </a:r>
            <a:r>
              <a:rPr lang="ru-RU" dirty="0">
                <a:solidFill>
                  <a:schemeClr val="tx2"/>
                </a:solidFill>
              </a:rPr>
              <a:t>а она отрицательная (и равна -6)</a:t>
            </a:r>
            <a:r>
              <a:rPr lang="en-US" dirty="0">
                <a:solidFill>
                  <a:schemeClr val="tx2"/>
                </a:solidFill>
              </a:rPr>
              <a:t>;</a:t>
            </a:r>
            <a:endParaRPr lang="ru-RU" dirty="0">
              <a:solidFill>
                <a:schemeClr val="tx2"/>
              </a:solidFill>
            </a:endParaRPr>
          </a:p>
          <a:p>
            <a:r>
              <a:rPr lang="ru-RU" dirty="0">
                <a:solidFill>
                  <a:schemeClr val="tx2"/>
                </a:solidFill>
              </a:rPr>
              <a:t>5) А получается так из-за того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что кроме опционов на </a:t>
            </a:r>
            <a:r>
              <a:rPr lang="en-US" dirty="0">
                <a:solidFill>
                  <a:schemeClr val="tx2"/>
                </a:solidFill>
              </a:rPr>
              <a:t>RUB_KEY_RATE</a:t>
            </a:r>
            <a:r>
              <a:rPr lang="ru-RU" dirty="0">
                <a:solidFill>
                  <a:schemeClr val="tx2"/>
                </a:solidFill>
              </a:rPr>
              <a:t> (которые на самом деле не опционы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а </a:t>
            </a:r>
            <a:r>
              <a:rPr lang="ru-RU" dirty="0" err="1">
                <a:solidFill>
                  <a:schemeClr val="tx2"/>
                </a:solidFill>
              </a:rPr>
              <a:t>кэпы</a:t>
            </a:r>
            <a:r>
              <a:rPr lang="ru-RU" dirty="0">
                <a:solidFill>
                  <a:schemeClr val="tx2"/>
                </a:solidFill>
              </a:rPr>
              <a:t>-флоры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а еще точнее – </a:t>
            </a:r>
            <a:r>
              <a:rPr lang="ru-RU" dirty="0" err="1">
                <a:solidFill>
                  <a:schemeClr val="tx2"/>
                </a:solidFill>
              </a:rPr>
              <a:t>коллары</a:t>
            </a:r>
            <a:r>
              <a:rPr lang="ru-RU" dirty="0">
                <a:solidFill>
                  <a:schemeClr val="tx2"/>
                </a:solidFill>
              </a:rPr>
              <a:t>)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причем опционов много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в портфеле есть еще кросс-</a:t>
            </a:r>
            <a:r>
              <a:rPr lang="ru-RU" dirty="0" err="1">
                <a:solidFill>
                  <a:schemeClr val="tx2"/>
                </a:solidFill>
              </a:rPr>
              <a:t>карренси</a:t>
            </a:r>
            <a:r>
              <a:rPr lang="ru-RU" dirty="0">
                <a:solidFill>
                  <a:schemeClr val="tx2"/>
                </a:solidFill>
              </a:rPr>
              <a:t> свопы на </a:t>
            </a:r>
            <a:r>
              <a:rPr lang="en-US" dirty="0">
                <a:solidFill>
                  <a:schemeClr val="tx2"/>
                </a:solidFill>
              </a:rPr>
              <a:t>CNHRUB, </a:t>
            </a:r>
            <a:r>
              <a:rPr lang="ru-RU" dirty="0">
                <a:solidFill>
                  <a:schemeClr val="tx2"/>
                </a:solidFill>
              </a:rPr>
              <a:t>и у кросса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когда курс  идет в сторону одной валюты</a:t>
            </a:r>
            <a:r>
              <a:rPr lang="en-US" dirty="0">
                <a:solidFill>
                  <a:schemeClr val="tx2"/>
                </a:solidFill>
              </a:rPr>
              <a:t>, DV01 </a:t>
            </a:r>
            <a:r>
              <a:rPr lang="ru-RU" dirty="0">
                <a:solidFill>
                  <a:schemeClr val="tx2"/>
                </a:solidFill>
              </a:rPr>
              <a:t>получается несимметричное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а смещенное в сторону одной валюты</a:t>
            </a:r>
            <a:r>
              <a:rPr lang="en-US" dirty="0">
                <a:solidFill>
                  <a:schemeClr val="tx2"/>
                </a:solidFill>
              </a:rPr>
              <a:t>; </a:t>
            </a:r>
            <a:r>
              <a:rPr lang="ru-RU" dirty="0">
                <a:solidFill>
                  <a:schemeClr val="tx2"/>
                </a:solidFill>
              </a:rPr>
              <a:t>и у нас оно как раз чуть-чуть смещенное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потому что без свопов бы было </a:t>
            </a:r>
            <a:r>
              <a:rPr lang="en-US" dirty="0">
                <a:solidFill>
                  <a:schemeClr val="tx2"/>
                </a:solidFill>
              </a:rPr>
              <a:t>DV01 RUB </a:t>
            </a:r>
            <a:r>
              <a:rPr lang="ru-RU" dirty="0">
                <a:solidFill>
                  <a:schemeClr val="tx2"/>
                </a:solidFill>
              </a:rPr>
              <a:t>положительное </a:t>
            </a:r>
            <a:r>
              <a:rPr lang="en-US" dirty="0">
                <a:solidFill>
                  <a:schemeClr val="tx2"/>
                </a:solidFill>
              </a:rPr>
              <a:t>(</a:t>
            </a:r>
            <a:r>
              <a:rPr lang="ru-RU" dirty="0">
                <a:solidFill>
                  <a:schemeClr val="tx2"/>
                </a:solidFill>
              </a:rPr>
              <a:t>типа </a:t>
            </a:r>
            <a:r>
              <a:rPr lang="en-US" dirty="0">
                <a:solidFill>
                  <a:schemeClr val="tx2"/>
                </a:solidFill>
              </a:rPr>
              <a:t>0.5), </a:t>
            </a:r>
            <a:r>
              <a:rPr lang="ru-RU" dirty="0">
                <a:solidFill>
                  <a:schemeClr val="tx2"/>
                </a:solidFill>
              </a:rPr>
              <a:t>а с учетом симметричного кросса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у которого </a:t>
            </a:r>
            <a:r>
              <a:rPr lang="en-US" dirty="0">
                <a:solidFill>
                  <a:schemeClr val="tx2"/>
                </a:solidFill>
              </a:rPr>
              <a:t>DV01 </a:t>
            </a:r>
            <a:r>
              <a:rPr lang="ru-RU" dirty="0">
                <a:solidFill>
                  <a:schemeClr val="tx2"/>
                </a:solidFill>
              </a:rPr>
              <a:t>по </a:t>
            </a:r>
            <a:r>
              <a:rPr lang="en-US" dirty="0">
                <a:solidFill>
                  <a:schemeClr val="tx2"/>
                </a:solidFill>
              </a:rPr>
              <a:t>CNH=5, </a:t>
            </a:r>
            <a:r>
              <a:rPr lang="ru-RU" dirty="0">
                <a:solidFill>
                  <a:schemeClr val="tx2"/>
                </a:solidFill>
              </a:rPr>
              <a:t>было бы </a:t>
            </a:r>
            <a:r>
              <a:rPr lang="en-US" dirty="0">
                <a:solidFill>
                  <a:schemeClr val="tx2"/>
                </a:solidFill>
              </a:rPr>
              <a:t>DV01=0.5-5=-4.5; </a:t>
            </a:r>
            <a:r>
              <a:rPr lang="ru-RU" dirty="0">
                <a:solidFill>
                  <a:schemeClr val="tx2"/>
                </a:solidFill>
              </a:rPr>
              <a:t>а мы видим </a:t>
            </a:r>
            <a:r>
              <a:rPr lang="en-US" dirty="0">
                <a:solidFill>
                  <a:schemeClr val="tx2"/>
                </a:solidFill>
              </a:rPr>
              <a:t>DV01 RUB = -6 – </a:t>
            </a:r>
            <a:r>
              <a:rPr lang="ru-RU" dirty="0">
                <a:solidFill>
                  <a:schemeClr val="tx2"/>
                </a:solidFill>
              </a:rPr>
              <a:t>значит</a:t>
            </a:r>
            <a:r>
              <a:rPr lang="en-US" dirty="0">
                <a:solidFill>
                  <a:schemeClr val="tx2"/>
                </a:solidFill>
              </a:rPr>
              <a:t>, </a:t>
            </a:r>
            <a:r>
              <a:rPr lang="ru-RU" dirty="0">
                <a:solidFill>
                  <a:schemeClr val="tx2"/>
                </a:solidFill>
              </a:rPr>
              <a:t>кросс смещенный</a:t>
            </a:r>
            <a:r>
              <a:rPr lang="en-US" dirty="0">
                <a:solidFill>
                  <a:schemeClr val="tx2"/>
                </a:solidFill>
              </a:rPr>
              <a:t>;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700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2213677"/>
            <a:ext cx="12192001" cy="1933453"/>
          </a:xfrm>
          <a:prstGeom prst="rect">
            <a:avLst/>
          </a:prstGeom>
          <a:solidFill>
            <a:srgbClr val="CBF7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5"/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6096000" y="1293091"/>
            <a:ext cx="0" cy="556582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958414" y="2353494"/>
            <a:ext cx="1599658" cy="60964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SB Sans Display Light" panose="020B0303040504020204"/>
              </a:rPr>
              <a:t>TradeHub</a:t>
            </a:r>
            <a:endParaRPr lang="en-US" dirty="0">
              <a:solidFill>
                <a:schemeClr val="tx1"/>
              </a:solidFill>
              <a:latin typeface="SB Sans Display Light" panose="020B0303040504020204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SB Sans Display Light" panose="020B0303040504020204"/>
              </a:rPr>
              <a:t>Zeus/Mercur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70594" y="3410597"/>
            <a:ext cx="1600310" cy="60964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SB Sans Display Light" panose="020B0303040504020204"/>
              </a:rPr>
              <a:t>RedPlum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899489" y="2716539"/>
            <a:ext cx="1656871" cy="87630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B Sans Display Light" panose="020B0303040504020204"/>
              </a:rPr>
              <a:t>PS CV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607212" y="2716540"/>
            <a:ext cx="1656871" cy="87630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B Sans Display Light" panose="020B0303040504020204"/>
              </a:rPr>
              <a:t>Pricing Service</a:t>
            </a:r>
          </a:p>
        </p:txBody>
      </p:sp>
      <p:cxnSp>
        <p:nvCxnSpPr>
          <p:cNvPr id="19" name="Straight Arrow Connector 18"/>
          <p:cNvCxnSpPr>
            <a:stCxn id="14" idx="3"/>
          </p:cNvCxnSpPr>
          <p:nvPr/>
        </p:nvCxnSpPr>
        <p:spPr>
          <a:xfrm>
            <a:off x="2558072" y="2658315"/>
            <a:ext cx="1341417" cy="3437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endCxn id="15" idx="3"/>
          </p:cNvCxnSpPr>
          <p:nvPr/>
        </p:nvCxnSpPr>
        <p:spPr>
          <a:xfrm flipH="1">
            <a:off x="2570904" y="3306892"/>
            <a:ext cx="1328585" cy="4085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9680222" y="2355673"/>
            <a:ext cx="1878260" cy="60964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B Sans Display Light" panose="020B0303040504020204"/>
              </a:rPr>
              <a:t>Market dat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784830"/>
          </a:xfrm>
        </p:spPr>
        <p:txBody>
          <a:bodyPr/>
          <a:lstStyle/>
          <a:p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вместная система включена в периметр АСУР</a:t>
            </a:r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ФР и интегрирована с </a:t>
            </a:r>
            <a:r>
              <a:rPr lang="ru-RU" sz="25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овым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модулем ДГР</a:t>
            </a:r>
            <a:endParaRPr lang="ru-RU" sz="2500" dirty="0"/>
          </a:p>
        </p:txBody>
      </p:sp>
      <p:sp>
        <p:nvSpPr>
          <p:cNvPr id="7" name="TextBox 6"/>
          <p:cNvSpPr txBox="1"/>
          <p:nvPr/>
        </p:nvSpPr>
        <p:spPr>
          <a:xfrm>
            <a:off x="467723" y="4457973"/>
            <a:ext cx="529448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грегация информации о сделках</a:t>
            </a:r>
          </a:p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ициализация регулярных расчетов</a:t>
            </a:r>
          </a:p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терпретация и сохранение результатов</a:t>
            </a:r>
          </a:p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пуск внутридневных расчетов пересчета метрик портфеля</a:t>
            </a:r>
          </a:p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счеты </a:t>
            </a:r>
            <a:r>
              <a:rPr lang="en-US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VA </a:t>
            </a: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новых сделок в дату заключения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705863" y="3410597"/>
            <a:ext cx="1878260" cy="60964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SB Sans Display Light" panose="020B0303040504020204"/>
              </a:rPr>
              <a:t>Business Logic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98956" y="1621945"/>
            <a:ext cx="104676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3000" dirty="0">
                <a:solidFill>
                  <a:schemeClr val="tx2"/>
                </a:solidFill>
              </a:rPr>
              <a:t>Риск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429796" y="4457973"/>
            <a:ext cx="529114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ительная платформа для оценки деривативных инструментов ДГР</a:t>
            </a:r>
          </a:p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ервис рыночных данных</a:t>
            </a:r>
          </a:p>
          <a:p>
            <a:pPr>
              <a:spcAft>
                <a:spcPts val="1200"/>
              </a:spcAft>
            </a:pPr>
            <a:r>
              <a:rPr lang="ru-RU" sz="16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нтерфейс взаимодействия с платформой для реализации бизнес-логик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539820" y="1621945"/>
            <a:ext cx="3418693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3000" dirty="0">
                <a:solidFill>
                  <a:schemeClr val="tx2"/>
                </a:solidFill>
              </a:rPr>
              <a:t>Глобальные Рынки</a:t>
            </a:r>
          </a:p>
        </p:txBody>
      </p:sp>
      <p:cxnSp>
        <p:nvCxnSpPr>
          <p:cNvPr id="30" name="Straight Arrow Connector 29"/>
          <p:cNvCxnSpPr>
            <a:stCxn id="18" idx="1"/>
          </p:cNvCxnSpPr>
          <p:nvPr/>
        </p:nvCxnSpPr>
        <p:spPr>
          <a:xfrm flipH="1">
            <a:off x="8255598" y="2660494"/>
            <a:ext cx="1424624" cy="32267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1" idx="1"/>
          </p:cNvCxnSpPr>
          <p:nvPr/>
        </p:nvCxnSpPr>
        <p:spPr>
          <a:xfrm flipH="1" flipV="1">
            <a:off x="8272661" y="3331207"/>
            <a:ext cx="1433202" cy="38421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Left-Right Arrow 38"/>
          <p:cNvSpPr/>
          <p:nvPr/>
        </p:nvSpPr>
        <p:spPr>
          <a:xfrm>
            <a:off x="5677795" y="2954003"/>
            <a:ext cx="816452" cy="401057"/>
          </a:xfrm>
          <a:prstGeom prst="leftRightArrow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253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393485" y="4327429"/>
            <a:ext cx="5655542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лючевые особенности архитектуры</a:t>
            </a:r>
            <a:endParaRPr lang="en-US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числительная платформа как сервис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ередовые технологии: векторизованные распределенные вычисления, расчет риска с помощью технологий 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втодифференцирования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AD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Гибкий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PI: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егко </a:t>
            </a:r>
            <a:r>
              <a:rPr lang="ru-RU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тотипировать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легко использовать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“Layer 2” API: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ддержка высокоуровневой бизнес-логики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Широкие возможности для интеграции с системами Банка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252519" y="4327429"/>
            <a:ext cx="5496569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b="1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ддерживаемые продукты и модели</a:t>
            </a:r>
            <a:endParaRPr lang="en-US" b="1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зовые активы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процентные ставки,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, 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кции, товарные продукты, кредитные продукты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дукты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</a:t>
            </a: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Vanilla options, Cap/Floor, Barriers, Digitals, Asian options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Autocallables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Targeted redemption notes, …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Модели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: Black-Scholes,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Bachelier</a:t>
            </a:r>
            <a:r>
              <a:rPr lang="en-US" sz="14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Local Volatility, Stochastic-Local Volatility, Hull-White, Cheyette, hybrid models for </a:t>
            </a:r>
            <a:r>
              <a:rPr lang="en-US" sz="1400" dirty="0" err="1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xVA</a:t>
            </a:r>
            <a:endParaRPr lang="en-US" sz="14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 Service compute core: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архитектура и возможности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790733" y="992868"/>
            <a:ext cx="10639521" cy="3128982"/>
            <a:chOff x="790733" y="872800"/>
            <a:chExt cx="10639521" cy="3128982"/>
          </a:xfrm>
        </p:grpSpPr>
        <p:sp>
          <p:nvSpPr>
            <p:cNvPr id="6" name="Left-Right Arrow 5"/>
            <p:cNvSpPr/>
            <p:nvPr/>
          </p:nvSpPr>
          <p:spPr>
            <a:xfrm>
              <a:off x="4786819" y="2191437"/>
              <a:ext cx="1029226" cy="554411"/>
            </a:xfrm>
            <a:prstGeom prst="left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6054609" y="872800"/>
              <a:ext cx="5375645" cy="2894073"/>
              <a:chOff x="6054609" y="872800"/>
              <a:chExt cx="5375645" cy="2894073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6410157" y="1042470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6098455" y="1088738"/>
                <a:ext cx="5020097" cy="261881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6054609" y="1148060"/>
                <a:ext cx="4750541" cy="261881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40" name="Group 39"/>
              <p:cNvGrpSpPr/>
              <p:nvPr/>
            </p:nvGrpSpPr>
            <p:grpSpPr>
              <a:xfrm>
                <a:off x="6339481" y="1300747"/>
                <a:ext cx="2448271" cy="2313440"/>
                <a:chOff x="6339481" y="1300747"/>
                <a:chExt cx="2448271" cy="2313440"/>
              </a:xfrm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6358449" y="1300747"/>
                  <a:ext cx="2429303" cy="2313440"/>
                </a:xfrm>
                <a:prstGeom prst="rect">
                  <a:avLst/>
                </a:prstGeom>
                <a:ln>
                  <a:noFill/>
                </a:ln>
                <a:effectLst/>
              </p:spPr>
            </p:sp>
            <p:sp>
              <p:nvSpPr>
                <p:cNvPr id="42" name="Freeform 41"/>
                <p:cNvSpPr/>
                <p:nvPr/>
              </p:nvSpPr>
              <p:spPr>
                <a:xfrm>
                  <a:off x="6867526" y="1467397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torage</a:t>
                  </a:r>
                </a:p>
              </p:txBody>
            </p:sp>
            <p:sp>
              <p:nvSpPr>
                <p:cNvPr id="43" name="Freeform 42"/>
                <p:cNvSpPr/>
                <p:nvPr/>
              </p:nvSpPr>
              <p:spPr>
                <a:xfrm>
                  <a:off x="6339481" y="1481841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546018" y="380559"/>
                      </a:moveTo>
                      <a:arcTo wR="841818" hR="841818" stAng="19606486" swAng="1010864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4" name="Freeform 43"/>
                <p:cNvSpPr/>
                <p:nvPr/>
              </p:nvSpPr>
              <p:spPr>
                <a:xfrm>
                  <a:off x="7668325" y="2165151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nalytical Core</a:t>
                  </a:r>
                </a:p>
              </p:txBody>
            </p:sp>
            <p:sp>
              <p:nvSpPr>
                <p:cNvPr id="45" name="Freeform 44"/>
                <p:cNvSpPr/>
                <p:nvPr/>
              </p:nvSpPr>
              <p:spPr>
                <a:xfrm>
                  <a:off x="6559422" y="1495936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1469739" y="1402508"/>
                      </a:moveTo>
                      <a:arcTo wR="841818" hR="841818" stAng="2505759" swAng="1652532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6" name="Freeform 45"/>
                <p:cNvSpPr/>
                <p:nvPr/>
              </p:nvSpPr>
              <p:spPr>
                <a:xfrm>
                  <a:off x="6604534" y="2604619"/>
                  <a:ext cx="970297" cy="630693"/>
                </a:xfrm>
                <a:custGeom>
                  <a:avLst/>
                  <a:gdLst>
                    <a:gd name="connsiteX0" fmla="*/ 0 w 970297"/>
                    <a:gd name="connsiteY0" fmla="*/ 105118 h 630693"/>
                    <a:gd name="connsiteX1" fmla="*/ 105118 w 970297"/>
                    <a:gd name="connsiteY1" fmla="*/ 0 h 630693"/>
                    <a:gd name="connsiteX2" fmla="*/ 865179 w 970297"/>
                    <a:gd name="connsiteY2" fmla="*/ 0 h 630693"/>
                    <a:gd name="connsiteX3" fmla="*/ 970297 w 970297"/>
                    <a:gd name="connsiteY3" fmla="*/ 105118 h 630693"/>
                    <a:gd name="connsiteX4" fmla="*/ 970297 w 970297"/>
                    <a:gd name="connsiteY4" fmla="*/ 525575 h 630693"/>
                    <a:gd name="connsiteX5" fmla="*/ 865179 w 970297"/>
                    <a:gd name="connsiteY5" fmla="*/ 630693 h 630693"/>
                    <a:gd name="connsiteX6" fmla="*/ 105118 w 970297"/>
                    <a:gd name="connsiteY6" fmla="*/ 630693 h 630693"/>
                    <a:gd name="connsiteX7" fmla="*/ 0 w 970297"/>
                    <a:gd name="connsiteY7" fmla="*/ 525575 h 630693"/>
                    <a:gd name="connsiteX8" fmla="*/ 0 w 970297"/>
                    <a:gd name="connsiteY8" fmla="*/ 105118 h 6306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297" h="630693">
                      <a:moveTo>
                        <a:pt x="0" y="105118"/>
                      </a:moveTo>
                      <a:cubicBezTo>
                        <a:pt x="0" y="47063"/>
                        <a:pt x="47063" y="0"/>
                        <a:pt x="105118" y="0"/>
                      </a:cubicBezTo>
                      <a:lnTo>
                        <a:pt x="865179" y="0"/>
                      </a:lnTo>
                      <a:cubicBezTo>
                        <a:pt x="923234" y="0"/>
                        <a:pt x="970297" y="47063"/>
                        <a:pt x="970297" y="105118"/>
                      </a:cubicBezTo>
                      <a:lnTo>
                        <a:pt x="970297" y="525575"/>
                      </a:lnTo>
                      <a:cubicBezTo>
                        <a:pt x="970297" y="583630"/>
                        <a:pt x="923234" y="630693"/>
                        <a:pt x="865179" y="630693"/>
                      </a:cubicBezTo>
                      <a:lnTo>
                        <a:pt x="105118" y="630693"/>
                      </a:lnTo>
                      <a:cubicBezTo>
                        <a:pt x="47063" y="630693"/>
                        <a:pt x="0" y="583630"/>
                        <a:pt x="0" y="525575"/>
                      </a:cubicBezTo>
                      <a:lnTo>
                        <a:pt x="0" y="105118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4128" tIns="84128" rIns="84128" bIns="84128" numCol="1" spcCol="1270" anchor="ctr" anchorCtr="0">
                  <a:noAutofit/>
                </a:bodyPr>
                <a:lstStyle/>
                <a:p>
                  <a:pPr lvl="0" algn="ctr" defTabSz="6223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Tasks</a:t>
                  </a:r>
                  <a:r>
                    <a:rPr lang="en-US" sz="1400" kern="1200" dirty="0"/>
                    <a:t> </a:t>
                  </a:r>
                  <a:r>
                    <a:rPr lang="en-US" sz="1600" b="1" dirty="0">
                      <a:solidFill>
                        <a:schemeClr val="bg1"/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Scheduler</a:t>
                  </a:r>
                </a:p>
              </p:txBody>
            </p:sp>
            <p:sp>
              <p:nvSpPr>
                <p:cNvPr id="47" name="Freeform 46"/>
                <p:cNvSpPr/>
                <p:nvPr/>
              </p:nvSpPr>
              <p:spPr>
                <a:xfrm>
                  <a:off x="6896205" y="1417187"/>
                  <a:ext cx="1683636" cy="1683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38077" y="1092134"/>
                      </a:moveTo>
                      <a:arcTo wR="841818" hR="841818" stAng="9762083" swAng="1282643"/>
                    </a:path>
                  </a:pathLst>
                </a:custGeom>
                <a:noFill/>
                <a:ln>
                  <a:solidFill>
                    <a:schemeClr val="accent1"/>
                  </a:solidFill>
                  <a:headEnd type="arrow"/>
                  <a:tailEnd type="arrow"/>
                </a:ln>
              </p:spPr>
              <p:style>
                <a:lnRef idx="1">
                  <a:scrgbClr r="0" g="0" b="0"/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3" name="Rectangle 2"/>
              <p:cNvSpPr/>
              <p:nvPr/>
            </p:nvSpPr>
            <p:spPr>
              <a:xfrm>
                <a:off x="9902631" y="872800"/>
                <a:ext cx="1349481" cy="7773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400" b="1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rPr>
                  <a:t>Серверы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9467150" y="1557811"/>
                <a:ext cx="966434" cy="617296"/>
                <a:chOff x="1542478" y="1062551"/>
                <a:chExt cx="1062009" cy="690306"/>
              </a:xfrm>
            </p:grpSpPr>
            <p:sp>
              <p:nvSpPr>
                <p:cNvPr id="26" name="Rounded Rectangle 25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27" name="Rounded Rectangle 4"/>
                <p:cNvSpPr txBox="1"/>
                <p:nvPr/>
              </p:nvSpPr>
              <p:spPr>
                <a:xfrm>
                  <a:off x="1576176" y="1096249"/>
                  <a:ext cx="994613" cy="622910"/>
                </a:xfrm>
                <a:prstGeom prst="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Algos</a:t>
                  </a:r>
                  <a:endParaRPr lang="en-US" sz="1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</p:grpSp>
          <p:grpSp>
            <p:nvGrpSpPr>
              <p:cNvPr id="28" name="Group 27"/>
              <p:cNvGrpSpPr/>
              <p:nvPr/>
            </p:nvGrpSpPr>
            <p:grpSpPr>
              <a:xfrm>
                <a:off x="9467150" y="2396010"/>
                <a:ext cx="966434" cy="617296"/>
                <a:chOff x="1542478" y="1062551"/>
                <a:chExt cx="1062009" cy="690306"/>
              </a:xfrm>
            </p:grpSpPr>
            <p:sp>
              <p:nvSpPr>
                <p:cNvPr id="29" name="Rounded Rectangle 28"/>
                <p:cNvSpPr/>
                <p:nvPr/>
              </p:nvSpPr>
              <p:spPr>
                <a:xfrm>
                  <a:off x="1542478" y="1062551"/>
                  <a:ext cx="1062009" cy="690306"/>
                </a:xfrm>
                <a:prstGeom prst="round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</p:sp>
            <p:sp>
              <p:nvSpPr>
                <p:cNvPr id="30" name="Rounded Rectangle 4"/>
                <p:cNvSpPr txBox="1"/>
                <p:nvPr/>
              </p:nvSpPr>
              <p:spPr>
                <a:xfrm>
                  <a:off x="1576175" y="1096249"/>
                  <a:ext cx="994613" cy="622910"/>
                </a:xfrm>
                <a:prstGeom prst="rect">
                  <a:avLst/>
                </a:prstGeom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>
                  <a:defPPr>
                    <a:defRPr lang="en-US"/>
                  </a:defPPr>
                  <a:lvl1pPr lvl="0" algn="ctr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 sz="1200">
                      <a:solidFill>
                        <a:schemeClr val="accent1">
                          <a:lumMod val="50000"/>
                        </a:schemeClr>
                      </a:solidFill>
                    </a:defRPr>
                  </a:lvl1pPr>
                </a:lstStyle>
                <a:p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High-level business logic</a:t>
                  </a:r>
                </a:p>
              </p:txBody>
            </p:sp>
          </p:grpSp>
          <p:cxnSp>
            <p:nvCxnSpPr>
              <p:cNvPr id="23" name="Straight Arrow Connector 22"/>
              <p:cNvCxnSpPr/>
              <p:nvPr/>
            </p:nvCxnSpPr>
            <p:spPr>
              <a:xfrm flipV="1">
                <a:off x="8710405" y="1948839"/>
                <a:ext cx="699079" cy="35219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/>
              <p:cNvCxnSpPr/>
              <p:nvPr/>
            </p:nvCxnSpPr>
            <p:spPr>
              <a:xfrm>
                <a:off x="8797490" y="2531983"/>
                <a:ext cx="611994" cy="213865"/>
              </a:xfrm>
              <a:prstGeom prst="straightConnector1">
                <a:avLst/>
              </a:prstGeom>
              <a:ln>
                <a:prstDash val="lg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49"/>
            <p:cNvGrpSpPr/>
            <p:nvPr/>
          </p:nvGrpSpPr>
          <p:grpSpPr>
            <a:xfrm>
              <a:off x="790733" y="948982"/>
              <a:ext cx="3757523" cy="3052800"/>
              <a:chOff x="790733" y="948982"/>
              <a:chExt cx="3757523" cy="3052800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790733" y="984794"/>
                <a:ext cx="3444963" cy="2967855"/>
                <a:chOff x="790733" y="984794"/>
                <a:chExt cx="3444963" cy="2967855"/>
              </a:xfrm>
            </p:grpSpPr>
            <p:sp>
              <p:nvSpPr>
                <p:cNvPr id="14" name="Freeform 13"/>
                <p:cNvSpPr/>
                <p:nvPr/>
              </p:nvSpPr>
              <p:spPr>
                <a:xfrm>
                  <a:off x="1256730" y="2468722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0 h 1250928"/>
                    <a:gd name="connsiteX1" fmla="*/ 238074 w 476149"/>
                    <a:gd name="connsiteY1" fmla="*/ 0 h 1250928"/>
                    <a:gd name="connsiteX2" fmla="*/ 238074 w 476149"/>
                    <a:gd name="connsiteY2" fmla="*/ 1250928 h 1250928"/>
                    <a:gd name="connsiteX3" fmla="*/ 476149 w 476149"/>
                    <a:gd name="connsiteY3" fmla="*/ 1250928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1250928"/>
                      </a:lnTo>
                      <a:lnTo>
                        <a:pt x="476149" y="1250928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2" rIns="217312" bIns="592002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6" name="Freeform 15"/>
                <p:cNvSpPr/>
                <p:nvPr/>
              </p:nvSpPr>
              <p:spPr>
                <a:xfrm>
                  <a:off x="1256730" y="2468722"/>
                  <a:ext cx="476149" cy="668431"/>
                </a:xfrm>
                <a:custGeom>
                  <a:avLst/>
                  <a:gdLst>
                    <a:gd name="connsiteX0" fmla="*/ 0 w 476149"/>
                    <a:gd name="connsiteY0" fmla="*/ 0 h 668431"/>
                    <a:gd name="connsiteX1" fmla="*/ 238074 w 476149"/>
                    <a:gd name="connsiteY1" fmla="*/ 0 h 668431"/>
                    <a:gd name="connsiteX2" fmla="*/ 238074 w 476149"/>
                    <a:gd name="connsiteY2" fmla="*/ 668431 h 668431"/>
                    <a:gd name="connsiteX3" fmla="*/ 476149 w 476149"/>
                    <a:gd name="connsiteY3" fmla="*/ 668431 h 66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668431">
                      <a:moveTo>
                        <a:pt x="0" y="0"/>
                      </a:moveTo>
                      <a:lnTo>
                        <a:pt x="238074" y="0"/>
                      </a:lnTo>
                      <a:lnTo>
                        <a:pt x="238074" y="668431"/>
                      </a:lnTo>
                      <a:lnTo>
                        <a:pt x="476149" y="668431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30258" tIns="313699" rIns="230257" bIns="31369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7" name="Freeform 16"/>
                <p:cNvSpPr/>
                <p:nvPr/>
              </p:nvSpPr>
              <p:spPr>
                <a:xfrm>
                  <a:off x="1256730" y="2423002"/>
                  <a:ext cx="305694" cy="91440"/>
                </a:xfrm>
                <a:custGeom>
                  <a:avLst/>
                  <a:gdLst>
                    <a:gd name="connsiteX0" fmla="*/ 0 w 305694"/>
                    <a:gd name="connsiteY0" fmla="*/ 45720 h 91440"/>
                    <a:gd name="connsiteX1" fmla="*/ 305694 w 305694"/>
                    <a:gd name="connsiteY1" fmla="*/ 45720 h 91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5694" h="91440">
                      <a:moveTo>
                        <a:pt x="0" y="45720"/>
                      </a:moveTo>
                      <a:lnTo>
                        <a:pt x="305694" y="4572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57905" tIns="38078" rIns="157905" bIns="38078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18" name="Freeform 17"/>
                <p:cNvSpPr/>
                <p:nvPr/>
              </p:nvSpPr>
              <p:spPr>
                <a:xfrm>
                  <a:off x="1275199" y="1806418"/>
                  <a:ext cx="455148" cy="662303"/>
                </a:xfrm>
                <a:custGeom>
                  <a:avLst/>
                  <a:gdLst>
                    <a:gd name="connsiteX0" fmla="*/ 0 w 455148"/>
                    <a:gd name="connsiteY0" fmla="*/ 662303 h 662303"/>
                    <a:gd name="connsiteX1" fmla="*/ 227574 w 455148"/>
                    <a:gd name="connsiteY1" fmla="*/ 662303 h 662303"/>
                    <a:gd name="connsiteX2" fmla="*/ 227574 w 455148"/>
                    <a:gd name="connsiteY2" fmla="*/ 0 h 662303"/>
                    <a:gd name="connsiteX3" fmla="*/ 455148 w 455148"/>
                    <a:gd name="connsiteY3" fmla="*/ 0 h 662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5148" h="662303">
                      <a:moveTo>
                        <a:pt x="0" y="662303"/>
                      </a:moveTo>
                      <a:lnTo>
                        <a:pt x="227574" y="662303"/>
                      </a:lnTo>
                      <a:lnTo>
                        <a:pt x="227574" y="0"/>
                      </a:lnTo>
                      <a:lnTo>
                        <a:pt x="455148" y="0"/>
                      </a:lnTo>
                    </a:path>
                  </a:pathLst>
                </a:custGeom>
                <a:noFill/>
                <a:ln w="190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20184" tIns="311062" rIns="220183" bIns="31106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1" name="Freeform 20"/>
                <p:cNvSpPr/>
                <p:nvPr/>
              </p:nvSpPr>
              <p:spPr>
                <a:xfrm>
                  <a:off x="1256730" y="1217793"/>
                  <a:ext cx="476149" cy="1250928"/>
                </a:xfrm>
                <a:custGeom>
                  <a:avLst/>
                  <a:gdLst>
                    <a:gd name="connsiteX0" fmla="*/ 0 w 476149"/>
                    <a:gd name="connsiteY0" fmla="*/ 1250928 h 1250928"/>
                    <a:gd name="connsiteX1" fmla="*/ 238074 w 476149"/>
                    <a:gd name="connsiteY1" fmla="*/ 1250928 h 1250928"/>
                    <a:gd name="connsiteX2" fmla="*/ 238074 w 476149"/>
                    <a:gd name="connsiteY2" fmla="*/ 0 h 1250928"/>
                    <a:gd name="connsiteX3" fmla="*/ 476149 w 476149"/>
                    <a:gd name="connsiteY3" fmla="*/ 0 h 1250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149" h="1250928">
                      <a:moveTo>
                        <a:pt x="0" y="1250928"/>
                      </a:moveTo>
                      <a:lnTo>
                        <a:pt x="238074" y="1250928"/>
                      </a:lnTo>
                      <a:lnTo>
                        <a:pt x="238074" y="0"/>
                      </a:lnTo>
                      <a:lnTo>
                        <a:pt x="476149" y="0"/>
                      </a:lnTo>
                    </a:path>
                  </a:pathLst>
                </a:custGeom>
                <a:noFill/>
                <a:ln w="1905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2">
                  <a:scrgbClr r="0" g="0" b="0"/>
                </a:lnRef>
                <a:fillRef idx="0">
                  <a:scrgbClr r="0" g="0" b="0"/>
                </a:fillRef>
                <a:effectRef idx="0">
                  <a:schemeClr val="accent4">
                    <a:tint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217313" tIns="592003" rIns="217312" bIns="592001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500" kern="1200"/>
                </a:p>
              </p:txBody>
            </p:sp>
            <p:sp>
              <p:nvSpPr>
                <p:cNvPr id="22" name="Freeform 21"/>
                <p:cNvSpPr/>
                <p:nvPr/>
              </p:nvSpPr>
              <p:spPr>
                <a:xfrm rot="16200000">
                  <a:off x="-202578" y="2235723"/>
                  <a:ext cx="2452619" cy="465997"/>
                </a:xfrm>
                <a:custGeom>
                  <a:avLst/>
                  <a:gdLst>
                    <a:gd name="connsiteX0" fmla="*/ 0 w 2452619"/>
                    <a:gd name="connsiteY0" fmla="*/ 0 h 465997"/>
                    <a:gd name="connsiteX1" fmla="*/ 2452619 w 2452619"/>
                    <a:gd name="connsiteY1" fmla="*/ 0 h 465997"/>
                    <a:gd name="connsiteX2" fmla="*/ 2452619 w 2452619"/>
                    <a:gd name="connsiteY2" fmla="*/ 465997 h 465997"/>
                    <a:gd name="connsiteX3" fmla="*/ 0 w 2452619"/>
                    <a:gd name="connsiteY3" fmla="*/ 465997 h 465997"/>
                    <a:gd name="connsiteX4" fmla="*/ 0 w 2452619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2619" h="465997">
                      <a:moveTo>
                        <a:pt x="0" y="0"/>
                      </a:moveTo>
                      <a:lnTo>
                        <a:pt x="2452619" y="0"/>
                      </a:lnTo>
                      <a:lnTo>
                        <a:pt x="2452619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6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20319" tIns="20320" rIns="20321" bIns="2032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30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Клиенты</a:t>
                  </a:r>
                  <a:endParaRPr lang="en-US" sz="30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4" name="Freeform 33"/>
                <p:cNvSpPr/>
                <p:nvPr/>
              </p:nvSpPr>
              <p:spPr>
                <a:xfrm>
                  <a:off x="1732880" y="984794"/>
                  <a:ext cx="2380274" cy="465997"/>
                </a:xfrm>
                <a:custGeom>
                  <a:avLst/>
                  <a:gdLst>
                    <a:gd name="connsiteX0" fmla="*/ 0 w 2321520"/>
                    <a:gd name="connsiteY0" fmla="*/ 0 h 465997"/>
                    <a:gd name="connsiteX1" fmla="*/ 2321520 w 2321520"/>
                    <a:gd name="connsiteY1" fmla="*/ 0 h 465997"/>
                    <a:gd name="connsiteX2" fmla="*/ 2321520 w 2321520"/>
                    <a:gd name="connsiteY2" fmla="*/ 465997 h 465997"/>
                    <a:gd name="connsiteX3" fmla="*/ 0 w 2321520"/>
                    <a:gd name="connsiteY3" fmla="*/ 465997 h 465997"/>
                    <a:gd name="connsiteX4" fmla="*/ 0 w 2321520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21520" h="465997">
                      <a:moveTo>
                        <a:pt x="0" y="0"/>
                      </a:moveTo>
                      <a:lnTo>
                        <a:pt x="2321520" y="0"/>
                      </a:lnTo>
                      <a:lnTo>
                        <a:pt x="2321520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ески / рисковая аналитика</a:t>
                  </a:r>
                  <a:r>
                    <a:rPr lang="en-US" sz="1400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 (Python API, Excels)</a:t>
                  </a:r>
                </a:p>
              </p:txBody>
            </p:sp>
            <p:sp>
              <p:nvSpPr>
                <p:cNvPr id="35" name="Freeform 34"/>
                <p:cNvSpPr/>
                <p:nvPr/>
              </p:nvSpPr>
              <p:spPr>
                <a:xfrm>
                  <a:off x="1732880" y="1573419"/>
                  <a:ext cx="2380274" cy="465997"/>
                </a:xfrm>
                <a:custGeom>
                  <a:avLst/>
                  <a:gdLst>
                    <a:gd name="connsiteX0" fmla="*/ 0 w 2355574"/>
                    <a:gd name="connsiteY0" fmla="*/ 0 h 465997"/>
                    <a:gd name="connsiteX1" fmla="*/ 2355574 w 2355574"/>
                    <a:gd name="connsiteY1" fmla="*/ 0 h 465997"/>
                    <a:gd name="connsiteX2" fmla="*/ 2355574 w 2355574"/>
                    <a:gd name="connsiteY2" fmla="*/ 465997 h 465997"/>
                    <a:gd name="connsiteX3" fmla="*/ 0 w 2355574"/>
                    <a:gd name="connsiteY3" fmla="*/ 465997 h 465997"/>
                    <a:gd name="connsiteX4" fmla="*/ 0 w 23555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55574" h="465997">
                      <a:moveTo>
                        <a:pt x="0" y="0"/>
                      </a:moveTo>
                      <a:lnTo>
                        <a:pt x="2355574" y="0"/>
                      </a:lnTo>
                      <a:lnTo>
                        <a:pt x="23555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Murex via Flex API</a:t>
                  </a:r>
                </a:p>
              </p:txBody>
            </p:sp>
            <p:sp>
              <p:nvSpPr>
                <p:cNvPr id="36" name="Freeform 35"/>
                <p:cNvSpPr/>
                <p:nvPr/>
              </p:nvSpPr>
              <p:spPr>
                <a:xfrm>
                  <a:off x="1563820" y="2149789"/>
                  <a:ext cx="2671876" cy="637866"/>
                </a:xfrm>
                <a:custGeom>
                  <a:avLst/>
                  <a:gdLst>
                    <a:gd name="connsiteX0" fmla="*/ 0 w 2671876"/>
                    <a:gd name="connsiteY0" fmla="*/ 0 h 637866"/>
                    <a:gd name="connsiteX1" fmla="*/ 2671876 w 2671876"/>
                    <a:gd name="connsiteY1" fmla="*/ 0 h 637866"/>
                    <a:gd name="connsiteX2" fmla="*/ 2671876 w 2671876"/>
                    <a:gd name="connsiteY2" fmla="*/ 637866 h 637866"/>
                    <a:gd name="connsiteX3" fmla="*/ 0 w 2671876"/>
                    <a:gd name="connsiteY3" fmla="*/ 637866 h 637866"/>
                    <a:gd name="connsiteX4" fmla="*/ 0 w 2671876"/>
                    <a:gd name="connsiteY4" fmla="*/ 0 h 637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71876" h="637866">
                      <a:moveTo>
                        <a:pt x="0" y="0"/>
                      </a:moveTo>
                      <a:lnTo>
                        <a:pt x="2671876" y="0"/>
                      </a:lnTo>
                      <a:lnTo>
                        <a:pt x="2671876" y="637866"/>
                      </a:lnTo>
                      <a:lnTo>
                        <a:pt x="0" y="63786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7CCAB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2700" tIns="12700" rIns="12700" bIns="12700" numCol="1" spcCol="1270" anchor="ctr" anchorCtr="0">
                  <a:noAutofit/>
                </a:bodyPr>
                <a:lstStyle/>
                <a:p>
                  <a:pPr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2400" dirty="0" err="1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xVA</a:t>
                  </a:r>
                  <a:endParaRPr lang="en-US" sz="2400" dirty="0">
                    <a:solidFill>
                      <a:srgbClr val="575757">
                        <a:lumMod val="50000"/>
                      </a:srgbClr>
                    </a:solidFill>
                    <a:latin typeface="SB Sans Display Light" panose="020B0303040504020204" pitchFamily="34" charset="0"/>
                    <a:cs typeface="SB Sans Display Light" panose="020B0303040504020204" pitchFamily="34" charset="0"/>
                  </a:endParaRPr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>
                  <a:off x="1732880" y="2904155"/>
                  <a:ext cx="2380274" cy="465997"/>
                </a:xfrm>
                <a:custGeom>
                  <a:avLst/>
                  <a:gdLst>
                    <a:gd name="connsiteX0" fmla="*/ 0 w 2348222"/>
                    <a:gd name="connsiteY0" fmla="*/ 0 h 465997"/>
                    <a:gd name="connsiteX1" fmla="*/ 2348222 w 2348222"/>
                    <a:gd name="connsiteY1" fmla="*/ 0 h 465997"/>
                    <a:gd name="connsiteX2" fmla="*/ 2348222 w 2348222"/>
                    <a:gd name="connsiteY2" fmla="*/ 465997 h 465997"/>
                    <a:gd name="connsiteX3" fmla="*/ 0 w 2348222"/>
                    <a:gd name="connsiteY3" fmla="*/ 465997 h 465997"/>
                    <a:gd name="connsiteX4" fmla="*/ 0 w 2348222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48222" h="465997">
                      <a:moveTo>
                        <a:pt x="0" y="0"/>
                      </a:moveTo>
                      <a:lnTo>
                        <a:pt x="2348222" y="0"/>
                      </a:lnTo>
                      <a:lnTo>
                        <a:pt x="2348222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Догма</a:t>
                  </a: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, K7M</a:t>
                  </a:r>
                </a:p>
              </p:txBody>
            </p:sp>
            <p:sp>
              <p:nvSpPr>
                <p:cNvPr id="39" name="Freeform 38"/>
                <p:cNvSpPr/>
                <p:nvPr/>
              </p:nvSpPr>
              <p:spPr>
                <a:xfrm>
                  <a:off x="1732880" y="3486652"/>
                  <a:ext cx="2380274" cy="465997"/>
                </a:xfrm>
                <a:custGeom>
                  <a:avLst/>
                  <a:gdLst>
                    <a:gd name="connsiteX0" fmla="*/ 0 w 2380274"/>
                    <a:gd name="connsiteY0" fmla="*/ 0 h 465997"/>
                    <a:gd name="connsiteX1" fmla="*/ 2380274 w 2380274"/>
                    <a:gd name="connsiteY1" fmla="*/ 0 h 465997"/>
                    <a:gd name="connsiteX2" fmla="*/ 2380274 w 2380274"/>
                    <a:gd name="connsiteY2" fmla="*/ 465997 h 465997"/>
                    <a:gd name="connsiteX3" fmla="*/ 0 w 2380274"/>
                    <a:gd name="connsiteY3" fmla="*/ 465997 h 465997"/>
                    <a:gd name="connsiteX4" fmla="*/ 0 w 2380274"/>
                    <a:gd name="connsiteY4" fmla="*/ 0 h 46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0274" h="465997">
                      <a:moveTo>
                        <a:pt x="0" y="0"/>
                      </a:moveTo>
                      <a:lnTo>
                        <a:pt x="2380274" y="0"/>
                      </a:lnTo>
                      <a:lnTo>
                        <a:pt x="2380274" y="465997"/>
                      </a:lnTo>
                      <a:lnTo>
                        <a:pt x="0" y="4659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4">
                    <a:shade val="8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0160" tIns="10160" rIns="10160" bIns="10160" numCol="1" spcCol="1270" anchor="ctr" anchorCtr="0">
                  <a:noAutofit/>
                </a:bodyPr>
                <a:lstStyle/>
                <a:p>
                  <a:pPr lvl="0" algn="ctr" defTabSz="7112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dirty="0">
                      <a:solidFill>
                        <a:srgbClr val="575757">
                          <a:lumMod val="50000"/>
                        </a:srgbClr>
                      </a:solidFill>
                      <a:latin typeface="SB Sans Display Light" panose="020B0303040504020204" pitchFamily="34" charset="0"/>
                      <a:cs typeface="SB Sans Display Light" panose="020B0303040504020204" pitchFamily="34" charset="0"/>
                    </a:rPr>
                    <a:t>CRM (Web interface)</a:t>
                  </a:r>
                </a:p>
              </p:txBody>
            </p:sp>
          </p:grpSp>
          <p:sp>
            <p:nvSpPr>
              <p:cNvPr id="9" name="Right Brace 8"/>
              <p:cNvSpPr/>
              <p:nvPr/>
            </p:nvSpPr>
            <p:spPr>
              <a:xfrm>
                <a:off x="4267218" y="948982"/>
                <a:ext cx="281038" cy="3052800"/>
              </a:xfrm>
              <a:prstGeom prst="rightBrace">
                <a:avLst/>
              </a:prstGeom>
              <a:ln w="25400"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96046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15724" y="1371459"/>
            <a:ext cx="10342789" cy="3731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70"/>
              </a:spcAft>
            </a:pP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строить автоматическое получение статических данных по контрагентам (рейтинги</a:t>
            </a: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/LGD,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SA)</a:t>
            </a:r>
            <a:endParaRPr lang="ru-RU" sz="1905" dirty="0"/>
          </a:p>
          <a:p>
            <a:pPr algn="just">
              <a:spcAft>
                <a:spcPts val="1270"/>
              </a:spcAft>
            </a:pP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овать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nL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Explain</a:t>
            </a:r>
            <a:endParaRPr lang="ru-RU" sz="1905" dirty="0">
              <a:solidFill>
                <a:schemeClr val="tx1">
                  <a:lumMod val="50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just"/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еревести на целевой расчет:</a:t>
            </a:r>
          </a:p>
          <a:p>
            <a:pPr lvl="1" algn="just">
              <a:spcAft>
                <a:spcPts val="1270"/>
              </a:spcAft>
            </a:pP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X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wap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Commodity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waps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MM/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Repo</a:t>
            </a:r>
            <a:endParaRPr lang="en-US" sz="1905" dirty="0">
              <a:solidFill>
                <a:schemeClr val="tx1">
                  <a:lumMod val="50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just"/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ализовать поддержку для новых продуктов:</a:t>
            </a:r>
          </a:p>
          <a:p>
            <a:pPr lvl="1" algn="just">
              <a:spcAft>
                <a:spcPts val="1270"/>
              </a:spcAft>
            </a:pP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IRS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(</a:t>
            </a: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float-float, cancellable), IR </a:t>
            </a:r>
            <a:r>
              <a:rPr lang="en-US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swaptions</a:t>
            </a: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, inflation swaps/options, digital caps/floors</a:t>
            </a:r>
            <a:endParaRPr lang="ru-RU" sz="1905" dirty="0">
              <a:solidFill>
                <a:schemeClr val="tx1">
                  <a:lumMod val="50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just">
              <a:spcAft>
                <a:spcPts val="1270"/>
              </a:spcAft>
            </a:pP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бавить шаблоны для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а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в </a:t>
            </a: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I</a:t>
            </a:r>
            <a:endParaRPr lang="ru-RU" sz="1905" dirty="0">
              <a:solidFill>
                <a:schemeClr val="tx1">
                  <a:lumMod val="50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just">
              <a:spcAft>
                <a:spcPts val="1270"/>
              </a:spcAft>
            </a:pP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работать </a:t>
            </a:r>
            <a:r>
              <a:rPr lang="en-US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UI 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настроек </a:t>
            </a:r>
            <a:r>
              <a:rPr lang="ru-RU" sz="1905" dirty="0" err="1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йсинга</a:t>
            </a: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налету</a:t>
            </a:r>
            <a:endParaRPr lang="en-US" sz="1905" dirty="0">
              <a:solidFill>
                <a:schemeClr val="tx1">
                  <a:lumMod val="50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algn="just">
              <a:spcAft>
                <a:spcPts val="1270"/>
              </a:spcAft>
            </a:pPr>
            <a:r>
              <a:rPr lang="ru-RU" sz="1905" dirty="0">
                <a:solidFill>
                  <a:schemeClr val="tx1">
                    <a:lumMod val="50000"/>
                  </a:scheme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бавить расчет хеджей</a:t>
            </a:r>
            <a:endParaRPr lang="en-US" sz="1905" dirty="0">
              <a:solidFill>
                <a:schemeClr val="tx1">
                  <a:lumMod val="50000"/>
                </a:scheme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ost MVP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ланы</a:t>
            </a:r>
            <a:endParaRPr lang="ru-RU" sz="2500" dirty="0"/>
          </a:p>
        </p:txBody>
      </p:sp>
    </p:spTree>
    <p:extLst>
      <p:ext uri="{BB962C8B-B14F-4D97-AF65-F5344CB8AC3E}">
        <p14:creationId xmlns:p14="http://schemas.microsoft.com/office/powerpoint/2010/main" val="442975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457200"/>
            <a:ext cx="10515600" cy="438582"/>
          </a:xfrm>
        </p:spPr>
        <p:txBody>
          <a:bodyPr/>
          <a:lstStyle/>
          <a:p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S CVA: </a:t>
            </a:r>
            <a:r>
              <a:rPr lang="ru-RU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ежим </a:t>
            </a:r>
            <a:r>
              <a:rPr lang="en-US" sz="2500" dirty="0">
                <a:solidFill>
                  <a:srgbClr val="575757">
                    <a:lumMod val="50000"/>
                  </a:srgbClr>
                </a:solidFill>
                <a:latin typeface="SB Sans Display Light" panose="020B0303040504020204" pitchFamily="34" charset="0"/>
                <a:cs typeface="SB Sans Display Light" panose="020B0303040504020204" pitchFamily="34" charset="0"/>
              </a:rPr>
              <a:t>Pricing</a:t>
            </a:r>
            <a:endParaRPr lang="ru-RU" sz="2500" dirty="0">
              <a:solidFill>
                <a:srgbClr val="575757">
                  <a:lumMod val="50000"/>
                </a:srgbClr>
              </a:solidFill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3" y="998394"/>
            <a:ext cx="11329193" cy="561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946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kT0.3JeYJXijcx.aSx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hQsDnXSnsd6B6YjHQsg"/>
</p:tagLst>
</file>

<file path=ppt/theme/theme1.xml><?xml version="1.0" encoding="utf-8"?>
<a:theme xmlns:a="http://schemas.openxmlformats.org/drawingml/2006/main" name="Тема Office">
  <a:themeElements>
    <a:clrScheme name="SBER-CIB_2020_1">
      <a:dk1>
        <a:sysClr val="windowText" lastClr="000000"/>
      </a:dk1>
      <a:lt1>
        <a:sysClr val="window" lastClr="FFFFFF"/>
      </a:lt1>
      <a:dk2>
        <a:srgbClr val="333F48"/>
      </a:dk2>
      <a:lt2>
        <a:srgbClr val="D6D4D4"/>
      </a:lt2>
      <a:accent1>
        <a:srgbClr val="00766C"/>
      </a:accent1>
      <a:accent2>
        <a:srgbClr val="21A038"/>
      </a:accent2>
      <a:accent3>
        <a:srgbClr val="00ADEE"/>
      </a:accent3>
      <a:accent4>
        <a:srgbClr val="A0E720"/>
      </a:accent4>
      <a:accent5>
        <a:srgbClr val="FAED00"/>
      </a:accent5>
      <a:accent6>
        <a:srgbClr val="65C4C3"/>
      </a:accent6>
      <a:hlink>
        <a:srgbClr val="65C4C3"/>
      </a:hlink>
      <a:folHlink>
        <a:srgbClr val="005677"/>
      </a:folHlink>
    </a:clrScheme>
    <a:fontScheme name="SB-2020">
      <a:majorFont>
        <a:latin typeface="SB Sans Display"/>
        <a:ea typeface=""/>
        <a:cs typeface=""/>
      </a:majorFont>
      <a:minorFont>
        <a:latin typeface="SB Sans Displa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5E7"/>
        </a:solidFill>
        <a:ln w="12700" cap="flat" cmpd="sng" algn="ctr">
          <a:noFill/>
          <a:prstDash val="solid"/>
          <a:miter lim="800000"/>
        </a:ln>
        <a:effectLst/>
      </a:spPr>
      <a:bodyPr lIns="0" tIns="0" rIns="0" bIns="0" rtlCol="0" anchor="ctr"/>
      <a:lstStyle>
        <a:defPPr algn="ctr">
          <a:defRPr>
            <a:solidFill>
              <a:schemeClr val="bg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5C720BFF-17AA-43C1-BB0B-7448596824A5}" vid="{89F1DFC7-2586-4F99-82B7-20C1505AD4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-СБ-16-9</Template>
  <TotalTime>50982</TotalTime>
  <Words>1491</Words>
  <Application>Microsoft Macintosh PowerPoint</Application>
  <PresentationFormat>Широкоэкранный</PresentationFormat>
  <Paragraphs>187</Paragraphs>
  <Slides>12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Cambria Math</vt:lpstr>
      <vt:lpstr>SB Sans Display</vt:lpstr>
      <vt:lpstr>SB Sans Display Light</vt:lpstr>
      <vt:lpstr>SB Sans Display Semibold</vt:lpstr>
      <vt:lpstr>Тема Office</vt:lpstr>
      <vt:lpstr>think-cell Slide</vt:lpstr>
      <vt:lpstr>Pricing Service CVA</vt:lpstr>
      <vt:lpstr>Pricing Service CVA - новая платформа для расчета xVA Executive summary</vt:lpstr>
      <vt:lpstr>PS CVA обладает значительными преимуществами по сравнению с Numerix CVA и альтернативами</vt:lpstr>
      <vt:lpstr>PS CVA: бесшовный переход от вендора к in-house решению</vt:lpstr>
      <vt:lpstr>Анализ таблицы состояния CVA-портфеля</vt:lpstr>
      <vt:lpstr>Совместная система включена в периметр АСУР ФР и интегрирована с прайсинговым модулем ДГР</vt:lpstr>
      <vt:lpstr>Pricing Service compute core: архитектура и возможности</vt:lpstr>
      <vt:lpstr>Post MVP планы</vt:lpstr>
      <vt:lpstr>PS CVA: режим Pricing</vt:lpstr>
      <vt:lpstr>PS CVA: режим Pricing</vt:lpstr>
      <vt:lpstr>Приложения</vt:lpstr>
      <vt:lpstr>Репликация для ITM Commodity Swaps</vt:lpstr>
    </vt:vector>
  </TitlesOfParts>
  <Company>diakov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 и Performance  Management</dc:title>
  <dc:creator>RePack by Diakov</dc:creator>
  <cp:lastModifiedBy>Microsoft Office User</cp:lastModifiedBy>
  <cp:revision>1273</cp:revision>
  <cp:lastPrinted>2021-08-25T13:49:15Z</cp:lastPrinted>
  <dcterms:created xsi:type="dcterms:W3CDTF">2017-10-06T09:46:43Z</dcterms:created>
  <dcterms:modified xsi:type="dcterms:W3CDTF">2022-10-21T13:35:15Z</dcterms:modified>
</cp:coreProperties>
</file>